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4"/>
  </p:sldMasterIdLst>
  <p:notesMasterIdLst>
    <p:notesMasterId r:id="rId14"/>
  </p:notesMasterIdLst>
  <p:handoutMasterIdLst>
    <p:handoutMasterId r:id="rId15"/>
  </p:handoutMasterIdLst>
  <p:sldIdLst>
    <p:sldId id="757" r:id="rId5"/>
    <p:sldId id="4264" r:id="rId6"/>
    <p:sldId id="689" r:id="rId7"/>
    <p:sldId id="4265" r:id="rId8"/>
    <p:sldId id="4260" r:id="rId9"/>
    <p:sldId id="4266" r:id="rId10"/>
    <p:sldId id="4268" r:id="rId11"/>
    <p:sldId id="4262" r:id="rId12"/>
    <p:sldId id="686" r:id="rId13"/>
  </p:sldIdLst>
  <p:sldSz cx="12192000" cy="6858000"/>
  <p:notesSz cx="7010400" cy="92964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ng, Mary Ellen" initials="KME" lastIdx="3" clrIdx="0">
    <p:extLst>
      <p:ext uri="{19B8F6BF-5375-455C-9EA6-DF929625EA0E}">
        <p15:presenceInfo xmlns:p15="http://schemas.microsoft.com/office/powerpoint/2012/main" userId="S-1-5-21-1627927489-3529874470-1830650990-1285277" providerId="AD"/>
      </p:ext>
    </p:extLst>
  </p:cmAuthor>
  <p:cmAuthor id="2" name="Murphy, Elaine" initials="ME" lastIdx="3" clrIdx="1">
    <p:extLst>
      <p:ext uri="{19B8F6BF-5375-455C-9EA6-DF929625EA0E}">
        <p15:presenceInfo xmlns:p15="http://schemas.microsoft.com/office/powerpoint/2012/main" userId="S-1-5-21-1627927489-3529874470-1830650990-179680" providerId="AD"/>
      </p:ext>
    </p:extLst>
  </p:cmAuthor>
  <p:cmAuthor id="3" name="Montross, Fred" initials="MF" lastIdx="17" clrIdx="2">
    <p:extLst>
      <p:ext uri="{19B8F6BF-5375-455C-9EA6-DF929625EA0E}">
        <p15:presenceInfo xmlns:p15="http://schemas.microsoft.com/office/powerpoint/2012/main" userId="S-1-5-21-1627927489-3529874470-1830650990-1394903" providerId="AD"/>
      </p:ext>
    </p:extLst>
  </p:cmAuthor>
  <p:cmAuthor id="4" name="Harris, Benjamin" initials="HB" lastIdx="2" clrIdx="3">
    <p:extLst>
      <p:ext uri="{19B8F6BF-5375-455C-9EA6-DF929625EA0E}">
        <p15:presenceInfo xmlns:p15="http://schemas.microsoft.com/office/powerpoint/2012/main" userId="S-1-5-21-1627927489-3529874470-1830650990-1019995" providerId="AD"/>
      </p:ext>
    </p:extLst>
  </p:cmAuthor>
  <p:cmAuthor id="5" name="Beauchamp, Rebecah" initials="BR" lastIdx="3" clrIdx="4">
    <p:extLst>
      <p:ext uri="{19B8F6BF-5375-455C-9EA6-DF929625EA0E}">
        <p15:presenceInfo xmlns:p15="http://schemas.microsoft.com/office/powerpoint/2012/main" userId="S::rebecah.beauchamp@mckesson.com::7b84730b-8d09-4c31-98fd-8919879089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8C"/>
    <a:srgbClr val="CCDEE8"/>
    <a:srgbClr val="99BDD1"/>
    <a:srgbClr val="003654"/>
    <a:srgbClr val="004870"/>
    <a:srgbClr val="E5EEF3"/>
    <a:srgbClr val="669CBA"/>
    <a:srgbClr val="00AADC"/>
    <a:srgbClr val="0046DC"/>
    <a:srgbClr val="DA01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95255" autoAdjust="0"/>
  </p:normalViewPr>
  <p:slideViewPr>
    <p:cSldViewPr snapToGrid="0">
      <p:cViewPr varScale="1">
        <p:scale>
          <a:sx n="82" d="100"/>
          <a:sy n="82" d="100"/>
        </p:scale>
        <p:origin x="826" y="67"/>
      </p:cViewPr>
      <p:guideLst/>
    </p:cSldViewPr>
  </p:slideViewPr>
  <p:outlineViewPr>
    <p:cViewPr>
      <p:scale>
        <a:sx n="33" d="100"/>
        <a:sy n="33" d="100"/>
      </p:scale>
      <p:origin x="0" y="-240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2528"/>
    </p:cViewPr>
  </p:sorterViewPr>
  <p:notesViewPr>
    <p:cSldViewPr snapToGrid="0">
      <p:cViewPr varScale="1">
        <p:scale>
          <a:sx n="83" d="100"/>
          <a:sy n="83" d="100"/>
        </p:scale>
        <p:origin x="3810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Wise" userId="840534413e3eb3ec" providerId="LiveId" clId="{15B2D3AF-F67D-40B5-B068-0B9A9EB6B22E}"/>
    <pc:docChg chg="undo custSel addSld delSld modSld sldOrd modMainMaster">
      <pc:chgData name="Alex Wise" userId="840534413e3eb3ec" providerId="LiveId" clId="{15B2D3AF-F67D-40B5-B068-0B9A9EB6B22E}" dt="2020-12-31T16:33:51.188" v="6078" actId="47"/>
      <pc:docMkLst>
        <pc:docMk/>
      </pc:docMkLst>
      <pc:sldChg chg="del">
        <pc:chgData name="Alex Wise" userId="840534413e3eb3ec" providerId="LiveId" clId="{15B2D3AF-F67D-40B5-B068-0B9A9EB6B22E}" dt="2020-12-15T01:49:20.448" v="2715" actId="47"/>
        <pc:sldMkLst>
          <pc:docMk/>
          <pc:sldMk cId="2177538565" sldId="642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694365451" sldId="64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949241255" sldId="644"/>
        </pc:sldMkLst>
      </pc:sldChg>
      <pc:sldChg chg="del">
        <pc:chgData name="Alex Wise" userId="840534413e3eb3ec" providerId="LiveId" clId="{15B2D3AF-F67D-40B5-B068-0B9A9EB6B22E}" dt="2020-12-15T01:49:18.532" v="2714" actId="47"/>
        <pc:sldMkLst>
          <pc:docMk/>
          <pc:sldMk cId="3633722783" sldId="64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043116961" sldId="64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707729923" sldId="64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015328536" sldId="64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107649157" sldId="650"/>
        </pc:sldMkLst>
      </pc:sldChg>
      <pc:sldChg chg="del">
        <pc:chgData name="Alex Wise" userId="840534413e3eb3ec" providerId="LiveId" clId="{15B2D3AF-F67D-40B5-B068-0B9A9EB6B22E}" dt="2020-12-15T01:09:53.853" v="880" actId="47"/>
        <pc:sldMkLst>
          <pc:docMk/>
          <pc:sldMk cId="3682986414" sldId="651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420698694" sldId="652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275506812" sldId="653"/>
        </pc:sldMkLst>
      </pc:sldChg>
      <pc:sldChg chg="del">
        <pc:chgData name="Alex Wise" userId="840534413e3eb3ec" providerId="LiveId" clId="{15B2D3AF-F67D-40B5-B068-0B9A9EB6B22E}" dt="2020-12-15T02:30:41.907" v="4265" actId="47"/>
        <pc:sldMkLst>
          <pc:docMk/>
          <pc:sldMk cId="3579537991" sldId="654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521465169" sldId="655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140323370" sldId="65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23138270" sldId="657"/>
        </pc:sldMkLst>
      </pc:sldChg>
      <pc:sldChg chg="del">
        <pc:chgData name="Alex Wise" userId="840534413e3eb3ec" providerId="LiveId" clId="{15B2D3AF-F67D-40B5-B068-0B9A9EB6B22E}" dt="2020-12-15T02:30:37.026" v="4264" actId="47"/>
        <pc:sldMkLst>
          <pc:docMk/>
          <pc:sldMk cId="2444216003" sldId="658"/>
        </pc:sldMkLst>
      </pc:sldChg>
      <pc:sldChg chg="del">
        <pc:chgData name="Alex Wise" userId="840534413e3eb3ec" providerId="LiveId" clId="{15B2D3AF-F67D-40B5-B068-0B9A9EB6B22E}" dt="2020-12-15T02:30:53.124" v="4274" actId="47"/>
        <pc:sldMkLst>
          <pc:docMk/>
          <pc:sldMk cId="3317559608" sldId="66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687013127" sldId="661"/>
        </pc:sldMkLst>
      </pc:sldChg>
      <pc:sldChg chg="del">
        <pc:chgData name="Alex Wise" userId="840534413e3eb3ec" providerId="LiveId" clId="{15B2D3AF-F67D-40B5-B068-0B9A9EB6B22E}" dt="2020-12-15T02:30:48.605" v="4269" actId="47"/>
        <pc:sldMkLst>
          <pc:docMk/>
          <pc:sldMk cId="858648611" sldId="662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294843954" sldId="663"/>
        </pc:sldMkLst>
      </pc:sldChg>
      <pc:sldChg chg="del">
        <pc:chgData name="Alex Wise" userId="840534413e3eb3ec" providerId="LiveId" clId="{15B2D3AF-F67D-40B5-B068-0B9A9EB6B22E}" dt="2020-12-15T02:30:54.246" v="4275" actId="47"/>
        <pc:sldMkLst>
          <pc:docMk/>
          <pc:sldMk cId="3873461623" sldId="66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772423672" sldId="665"/>
        </pc:sldMkLst>
      </pc:sldChg>
      <pc:sldChg chg="del">
        <pc:chgData name="Alex Wise" userId="840534413e3eb3ec" providerId="LiveId" clId="{15B2D3AF-F67D-40B5-B068-0B9A9EB6B22E}" dt="2020-12-15T02:30:49.419" v="4270" actId="47"/>
        <pc:sldMkLst>
          <pc:docMk/>
          <pc:sldMk cId="2423950735" sldId="666"/>
        </pc:sldMkLst>
      </pc:sldChg>
      <pc:sldChg chg="del">
        <pc:chgData name="Alex Wise" userId="840534413e3eb3ec" providerId="LiveId" clId="{15B2D3AF-F67D-40B5-B068-0B9A9EB6B22E}" dt="2020-12-15T02:30:50.197" v="4271" actId="47"/>
        <pc:sldMkLst>
          <pc:docMk/>
          <pc:sldMk cId="629284434" sldId="66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633376501" sldId="66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955790863" sldId="669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942274708" sldId="67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872142809" sldId="672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1304041055" sldId="67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74080003" sldId="67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13049569" sldId="67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405064055" sldId="680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57324903" sldId="685"/>
        </pc:sldMkLst>
      </pc:sldChg>
      <pc:sldChg chg="modSp mod ord">
        <pc:chgData name="Alex Wise" userId="840534413e3eb3ec" providerId="LiveId" clId="{15B2D3AF-F67D-40B5-B068-0B9A9EB6B22E}" dt="2020-12-15T01:06:36.512" v="642" actId="20577"/>
        <pc:sldMkLst>
          <pc:docMk/>
          <pc:sldMk cId="1458030308" sldId="686"/>
        </pc:sldMkLst>
        <pc:spChg chg="mod">
          <ac:chgData name="Alex Wise" userId="840534413e3eb3ec" providerId="LiveId" clId="{15B2D3AF-F67D-40B5-B068-0B9A9EB6B22E}" dt="2020-12-15T01:06:36.512" v="642" actId="20577"/>
          <ac:spMkLst>
            <pc:docMk/>
            <pc:sldMk cId="1458030308" sldId="686"/>
            <ac:spMk id="2" creationId="{B760F355-F46B-E043-991F-1BB741E155C1}"/>
          </ac:spMkLst>
        </pc:spChg>
      </pc:sldChg>
      <pc:sldChg chg="addSp delSp modSp mod">
        <pc:chgData name="Alex Wise" userId="840534413e3eb3ec" providerId="LiveId" clId="{15B2D3AF-F67D-40B5-B068-0B9A9EB6B22E}" dt="2020-12-19T16:56:21.534" v="4832" actId="947"/>
        <pc:sldMkLst>
          <pc:docMk/>
          <pc:sldMk cId="3513777623" sldId="689"/>
        </pc:sldMkLst>
        <pc:spChg chg="del">
          <ac:chgData name="Alex Wise" userId="840534413e3eb3ec" providerId="LiveId" clId="{15B2D3AF-F67D-40B5-B068-0B9A9EB6B22E}" dt="2020-12-15T00:25:03.390" v="0" actId="478"/>
          <ac:spMkLst>
            <pc:docMk/>
            <pc:sldMk cId="3513777623" sldId="689"/>
            <ac:spMk id="2" creationId="{CD2AAF18-8690-2F4D-B3DA-0A75C191CC5D}"/>
          </ac:spMkLst>
        </pc:spChg>
        <pc:spChg chg="mod">
          <ac:chgData name="Alex Wise" userId="840534413e3eb3ec" providerId="LiveId" clId="{15B2D3AF-F67D-40B5-B068-0B9A9EB6B22E}" dt="2020-12-15T01:13:52.736" v="971" actId="20577"/>
          <ac:spMkLst>
            <pc:docMk/>
            <pc:sldMk cId="3513777623" sldId="689"/>
            <ac:spMk id="4" creationId="{A6DE7AEE-F543-554C-B3C5-1F00B1669ADE}"/>
          </ac:spMkLst>
        </pc:spChg>
        <pc:spChg chg="add del mod">
          <ac:chgData name="Alex Wise" userId="840534413e3eb3ec" providerId="LiveId" clId="{15B2D3AF-F67D-40B5-B068-0B9A9EB6B22E}" dt="2020-12-15T01:10:38.951" v="884" actId="478"/>
          <ac:spMkLst>
            <pc:docMk/>
            <pc:sldMk cId="3513777623" sldId="689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0:28:15.954" v="266" actId="20577"/>
          <ac:spMkLst>
            <pc:docMk/>
            <pc:sldMk cId="3513777623" sldId="689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0:32:22.901" v="389" actId="478"/>
          <ac:spMkLst>
            <pc:docMk/>
            <pc:sldMk cId="3513777623" sldId="689"/>
            <ac:spMk id="7" creationId="{37B8BE70-02A7-904B-A071-7FB4CB4AB16B}"/>
          </ac:spMkLst>
        </pc:spChg>
        <pc:spChg chg="del mod">
          <ac:chgData name="Alex Wise" userId="840534413e3eb3ec" providerId="LiveId" clId="{15B2D3AF-F67D-40B5-B068-0B9A9EB6B22E}" dt="2020-12-15T01:10:31.442" v="882" actId="478"/>
          <ac:spMkLst>
            <pc:docMk/>
            <pc:sldMk cId="3513777623" sldId="689"/>
            <ac:spMk id="8" creationId="{AA8489B8-7D4D-9F4A-9BA8-477DD4F45FC4}"/>
          </ac:spMkLst>
        </pc:spChg>
        <pc:spChg chg="add del mod">
          <ac:chgData name="Alex Wise" userId="840534413e3eb3ec" providerId="LiveId" clId="{15B2D3AF-F67D-40B5-B068-0B9A9EB6B22E}" dt="2020-12-15T01:10:43.088" v="886" actId="478"/>
          <ac:spMkLst>
            <pc:docMk/>
            <pc:sldMk cId="3513777623" sldId="689"/>
            <ac:spMk id="9" creationId="{4CB0818C-02AA-4800-8ADF-BD8C611C808C}"/>
          </ac:spMkLst>
        </pc:spChg>
        <pc:spChg chg="add del mod">
          <ac:chgData name="Alex Wise" userId="840534413e3eb3ec" providerId="LiveId" clId="{15B2D3AF-F67D-40B5-B068-0B9A9EB6B22E}" dt="2020-12-15T01:10:41.663" v="885" actId="478"/>
          <ac:spMkLst>
            <pc:docMk/>
            <pc:sldMk cId="3513777623" sldId="689"/>
            <ac:spMk id="10" creationId="{1C4B44C1-DA39-4416-BEF5-94C6A227F849}"/>
          </ac:spMkLst>
        </pc:spChg>
        <pc:spChg chg="add mod">
          <ac:chgData name="Alex Wise" userId="840534413e3eb3ec" providerId="LiveId" clId="{15B2D3AF-F67D-40B5-B068-0B9A9EB6B22E}" dt="2020-12-15T01:10:51.064" v="902" actId="20577"/>
          <ac:spMkLst>
            <pc:docMk/>
            <pc:sldMk cId="3513777623" sldId="689"/>
            <ac:spMk id="12" creationId="{A1A4C787-0638-438F-A61F-6F4161A5E722}"/>
          </ac:spMkLst>
        </pc:spChg>
        <pc:spChg chg="add mod">
          <ac:chgData name="Alex Wise" userId="840534413e3eb3ec" providerId="LiveId" clId="{15B2D3AF-F67D-40B5-B068-0B9A9EB6B22E}" dt="2020-12-15T01:10:56.632" v="918" actId="20577"/>
          <ac:spMkLst>
            <pc:docMk/>
            <pc:sldMk cId="3513777623" sldId="689"/>
            <ac:spMk id="13" creationId="{18B1A302-375D-417F-B1C9-48A922131F68}"/>
          </ac:spMkLst>
        </pc:spChg>
        <pc:spChg chg="add mod">
          <ac:chgData name="Alex Wise" userId="840534413e3eb3ec" providerId="LiveId" clId="{15B2D3AF-F67D-40B5-B068-0B9A9EB6B22E}" dt="2020-12-15T01:19:36.377" v="1654" actId="113"/>
          <ac:spMkLst>
            <pc:docMk/>
            <pc:sldMk cId="3513777623" sldId="689"/>
            <ac:spMk id="16" creationId="{D494A936-80BE-4DC2-8B5C-B0389ACE6F1F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18" creationId="{189711D2-4F70-44F5-9B3C-96BE6804F416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19" creationId="{4DD6093B-25AE-4299-B15E-6CE09731805F}"/>
          </ac:spMkLst>
        </pc:spChg>
        <pc:spChg chg="add 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0" creationId="{7C16EED8-DEE0-4A70-954F-08CBED810B8A}"/>
          </ac:spMkLst>
        </pc:spChg>
        <pc:spChg chg="add mod">
          <ac:chgData name="Alex Wise" userId="840534413e3eb3ec" providerId="LiveId" clId="{15B2D3AF-F67D-40B5-B068-0B9A9EB6B22E}" dt="2020-12-15T01:20:07.103" v="1776" actId="20577"/>
          <ac:spMkLst>
            <pc:docMk/>
            <pc:sldMk cId="3513777623" sldId="689"/>
            <ac:spMk id="21" creationId="{CF186DA3-E131-412E-8F9B-9B134DEB00A9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3" creationId="{0A891C75-5E8A-4900-8FE9-83B9FBDB22FE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4" creationId="{6758576F-2703-4F47-93FF-1FDF70BEC4A3}"/>
          </ac:spMkLst>
        </pc:spChg>
        <pc:spChg chg="add mod">
          <ac:chgData name="Alex Wise" userId="840534413e3eb3ec" providerId="LiveId" clId="{15B2D3AF-F67D-40B5-B068-0B9A9EB6B22E}" dt="2020-12-15T01:24:14.263" v="1890" actId="20577"/>
          <ac:spMkLst>
            <pc:docMk/>
            <pc:sldMk cId="3513777623" sldId="689"/>
            <ac:spMk id="25" creationId="{50D36FA5-B956-45B0-ACD2-C24E4745905A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7" creationId="{D7FCB877-82D0-4B7F-8AF8-D92517FDBC40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28" creationId="{7B71703B-492A-4282-9F1C-47E18E9B784E}"/>
          </ac:spMkLst>
        </pc:spChg>
        <pc:spChg chg="add mod">
          <ac:chgData name="Alex Wise" userId="840534413e3eb3ec" providerId="LiveId" clId="{15B2D3AF-F67D-40B5-B068-0B9A9EB6B22E}" dt="2020-12-15T01:24:54.656" v="2013" actId="20577"/>
          <ac:spMkLst>
            <pc:docMk/>
            <pc:sldMk cId="3513777623" sldId="689"/>
            <ac:spMk id="29" creationId="{DA71739B-8F3D-4F76-BD80-4E6B8FBFEE77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31" creationId="{CF743913-25BD-49E6-92D7-BE37C0F12E6F}"/>
          </ac:spMkLst>
        </pc:spChg>
        <pc:spChg chg="mod">
          <ac:chgData name="Alex Wise" userId="840534413e3eb3ec" providerId="LiveId" clId="{15B2D3AF-F67D-40B5-B068-0B9A9EB6B22E}" dt="2020-12-15T01:10:27.901" v="881"/>
          <ac:spMkLst>
            <pc:docMk/>
            <pc:sldMk cId="3513777623" sldId="689"/>
            <ac:spMk id="32" creationId="{9573D5C4-3FAB-4527-8BF7-F6B4211C5EC7}"/>
          </ac:spMkLst>
        </pc:spChg>
        <pc:spChg chg="add del mod">
          <ac:chgData name="Alex Wise" userId="840534413e3eb3ec" providerId="LiveId" clId="{15B2D3AF-F67D-40B5-B068-0B9A9EB6B22E}" dt="2020-12-15T01:10:32.896" v="883" actId="478"/>
          <ac:spMkLst>
            <pc:docMk/>
            <pc:sldMk cId="3513777623" sldId="689"/>
            <ac:spMk id="34" creationId="{184757AC-8BDB-4B7E-A386-72648F2D095F}"/>
          </ac:spMkLst>
        </pc:spChg>
        <pc:spChg chg="add mod">
          <ac:chgData name="Alex Wise" userId="840534413e3eb3ec" providerId="LiveId" clId="{15B2D3AF-F67D-40B5-B068-0B9A9EB6B22E}" dt="2020-12-19T16:56:21.534" v="4832" actId="947"/>
          <ac:spMkLst>
            <pc:docMk/>
            <pc:sldMk cId="3513777623" sldId="689"/>
            <ac:spMk id="35" creationId="{B3615C2D-21BA-447B-80C3-8EBFAF419B69}"/>
          </ac:spMkLst>
        </pc:spChg>
        <pc:grpChg chg="add del mod">
          <ac:chgData name="Alex Wise" userId="840534413e3eb3ec" providerId="LiveId" clId="{15B2D3AF-F67D-40B5-B068-0B9A9EB6B22E}" dt="2020-12-15T01:30:40.061" v="2050" actId="478"/>
          <ac:grpSpMkLst>
            <pc:docMk/>
            <pc:sldMk cId="3513777623" sldId="689"/>
            <ac:grpSpMk id="17" creationId="{D90182EE-0697-4B22-AC46-55F5B6C856A1}"/>
          </ac:grpSpMkLst>
        </pc:grpChg>
        <pc:grpChg chg="add del mod">
          <ac:chgData name="Alex Wise" userId="840534413e3eb3ec" providerId="LiveId" clId="{15B2D3AF-F67D-40B5-B068-0B9A9EB6B22E}" dt="2020-12-15T01:32:45.526" v="2055" actId="478"/>
          <ac:grpSpMkLst>
            <pc:docMk/>
            <pc:sldMk cId="3513777623" sldId="689"/>
            <ac:grpSpMk id="22" creationId="{3A0B7D13-8838-42FE-B1B7-AF1EC795147B}"/>
          </ac:grpSpMkLst>
        </pc:grpChg>
        <pc:grpChg chg="add del mod">
          <ac:chgData name="Alex Wise" userId="840534413e3eb3ec" providerId="LiveId" clId="{15B2D3AF-F67D-40B5-B068-0B9A9EB6B22E}" dt="2020-12-15T01:29:44.039" v="2048" actId="478"/>
          <ac:grpSpMkLst>
            <pc:docMk/>
            <pc:sldMk cId="3513777623" sldId="689"/>
            <ac:grpSpMk id="26" creationId="{7495914A-916E-45E4-971D-D7C9EA35A595}"/>
          </ac:grpSpMkLst>
        </pc:grpChg>
        <pc:grpChg chg="add del mod">
          <ac:chgData name="Alex Wise" userId="840534413e3eb3ec" providerId="LiveId" clId="{15B2D3AF-F67D-40B5-B068-0B9A9EB6B22E}" dt="2020-12-15T01:27:52.286" v="2044" actId="478"/>
          <ac:grpSpMkLst>
            <pc:docMk/>
            <pc:sldMk cId="3513777623" sldId="689"/>
            <ac:grpSpMk id="30" creationId="{BFB74F22-6B46-42B1-A6A6-0F18D12CC7A1}"/>
          </ac:grpSpMkLst>
        </pc:grpChg>
        <pc:graphicFrameChg chg="add mod modGraphic">
          <ac:chgData name="Alex Wise" userId="840534413e3eb3ec" providerId="LiveId" clId="{15B2D3AF-F67D-40B5-B068-0B9A9EB6B22E}" dt="2020-12-15T01:18:20.322" v="1452" actId="1076"/>
          <ac:graphicFrameMkLst>
            <pc:docMk/>
            <pc:sldMk cId="3513777623" sldId="689"/>
            <ac:graphicFrameMk id="11" creationId="{27CA79E5-6189-4BA9-B3BF-16EDDE13DE6A}"/>
          </ac:graphicFrameMkLst>
        </pc:graphicFrameChg>
        <pc:picChg chg="add mod">
          <ac:chgData name="Alex Wise" userId="840534413e3eb3ec" providerId="LiveId" clId="{15B2D3AF-F67D-40B5-B068-0B9A9EB6B22E}" dt="2020-12-15T01:27:56.833" v="2046" actId="1076"/>
          <ac:picMkLst>
            <pc:docMk/>
            <pc:sldMk cId="3513777623" sldId="689"/>
            <ac:picMk id="36" creationId="{FC3DDC68-B912-4C2E-89EB-C4CED3E52F71}"/>
          </ac:picMkLst>
        </pc:picChg>
        <pc:picChg chg="add mod">
          <ac:chgData name="Alex Wise" userId="840534413e3eb3ec" providerId="LiveId" clId="{15B2D3AF-F67D-40B5-B068-0B9A9EB6B22E}" dt="2020-12-15T01:29:50.839" v="2049" actId="1076"/>
          <ac:picMkLst>
            <pc:docMk/>
            <pc:sldMk cId="3513777623" sldId="689"/>
            <ac:picMk id="37" creationId="{4F8D349C-989E-4AE2-BA39-E8EF23546B60}"/>
          </ac:picMkLst>
        </pc:picChg>
        <pc:picChg chg="add mod">
          <ac:chgData name="Alex Wise" userId="840534413e3eb3ec" providerId="LiveId" clId="{15B2D3AF-F67D-40B5-B068-0B9A9EB6B22E}" dt="2020-12-15T01:31:01.099" v="2054" actId="1076"/>
          <ac:picMkLst>
            <pc:docMk/>
            <pc:sldMk cId="3513777623" sldId="689"/>
            <ac:picMk id="38" creationId="{2E78A9AC-937B-4BC8-AF7B-E57BD54F8C52}"/>
          </ac:picMkLst>
        </pc:picChg>
        <pc:picChg chg="add mod">
          <ac:chgData name="Alex Wise" userId="840534413e3eb3ec" providerId="LiveId" clId="{15B2D3AF-F67D-40B5-B068-0B9A9EB6B22E}" dt="2020-12-15T01:50:21.743" v="2719" actId="1076"/>
          <ac:picMkLst>
            <pc:docMk/>
            <pc:sldMk cId="3513777623" sldId="689"/>
            <ac:picMk id="39" creationId="{F1ED8F50-9A1B-4789-9101-3CA6296EE119}"/>
          </ac:picMkLst>
        </pc:picChg>
        <pc:cxnChg chg="add mod">
          <ac:chgData name="Alex Wise" userId="840534413e3eb3ec" providerId="LiveId" clId="{15B2D3AF-F67D-40B5-B068-0B9A9EB6B22E}" dt="2020-12-15T01:10:27.901" v="881"/>
          <ac:cxnSpMkLst>
            <pc:docMk/>
            <pc:sldMk cId="3513777623" sldId="689"/>
            <ac:cxnSpMk id="14" creationId="{669AC496-79F9-44D6-9447-3448AA5D6867}"/>
          </ac:cxnSpMkLst>
        </pc:cxnChg>
        <pc:cxnChg chg="add mod">
          <ac:chgData name="Alex Wise" userId="840534413e3eb3ec" providerId="LiveId" clId="{15B2D3AF-F67D-40B5-B068-0B9A9EB6B22E}" dt="2020-12-15T01:10:27.901" v="881"/>
          <ac:cxnSpMkLst>
            <pc:docMk/>
            <pc:sldMk cId="3513777623" sldId="689"/>
            <ac:cxnSpMk id="15" creationId="{12C10E91-7910-4BEF-B39F-056E42C68CD7}"/>
          </ac:cxnSpMkLst>
        </pc:cxnChg>
      </pc:sldChg>
      <pc:sldChg chg="del">
        <pc:chgData name="Alex Wise" userId="840534413e3eb3ec" providerId="LiveId" clId="{15B2D3AF-F67D-40B5-B068-0B9A9EB6B22E}" dt="2020-12-15T02:30:51.721" v="4272" actId="47"/>
        <pc:sldMkLst>
          <pc:docMk/>
          <pc:sldMk cId="3808039915" sldId="690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793061733" sldId="691"/>
        </pc:sldMkLst>
      </pc:sldChg>
      <pc:sldChg chg="del">
        <pc:chgData name="Alex Wise" userId="840534413e3eb3ec" providerId="LiveId" clId="{15B2D3AF-F67D-40B5-B068-0B9A9EB6B22E}" dt="2020-12-15T02:31:01.429" v="4276" actId="47"/>
        <pc:sldMkLst>
          <pc:docMk/>
          <pc:sldMk cId="2637346094" sldId="69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006301624" sldId="69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36645409" sldId="698"/>
        </pc:sldMkLst>
      </pc:sldChg>
      <pc:sldChg chg="del">
        <pc:chgData name="Alex Wise" userId="840534413e3eb3ec" providerId="LiveId" clId="{15B2D3AF-F67D-40B5-B068-0B9A9EB6B22E}" dt="2020-12-15T01:06:42.671" v="646" actId="47"/>
        <pc:sldMkLst>
          <pc:docMk/>
          <pc:sldMk cId="373873296" sldId="700"/>
        </pc:sldMkLst>
      </pc:sldChg>
      <pc:sldChg chg="del">
        <pc:chgData name="Alex Wise" userId="840534413e3eb3ec" providerId="LiveId" clId="{15B2D3AF-F67D-40B5-B068-0B9A9EB6B22E}" dt="2020-12-15T01:06:41.150" v="645" actId="47"/>
        <pc:sldMkLst>
          <pc:docMk/>
          <pc:sldMk cId="2614529136" sldId="70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068648172" sldId="70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905252822" sldId="71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593718756" sldId="714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66627192" sldId="715"/>
        </pc:sldMkLst>
      </pc:sldChg>
      <pc:sldChg chg="del">
        <pc:chgData name="Alex Wise" userId="840534413e3eb3ec" providerId="LiveId" clId="{15B2D3AF-F67D-40B5-B068-0B9A9EB6B22E}" dt="2020-12-15T01:49:21.810" v="2716" actId="47"/>
        <pc:sldMkLst>
          <pc:docMk/>
          <pc:sldMk cId="3933611571" sldId="71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743311936" sldId="71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4286997874" sldId="72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63247851" sldId="723"/>
        </pc:sldMkLst>
      </pc:sldChg>
      <pc:sldChg chg="del">
        <pc:chgData name="Alex Wise" userId="840534413e3eb3ec" providerId="LiveId" clId="{15B2D3AF-F67D-40B5-B068-0B9A9EB6B22E}" dt="2020-12-15T02:30:43.971" v="4266" actId="47"/>
        <pc:sldMkLst>
          <pc:docMk/>
          <pc:sldMk cId="3484563651" sldId="724"/>
        </pc:sldMkLst>
      </pc:sldChg>
      <pc:sldChg chg="del">
        <pc:chgData name="Alex Wise" userId="840534413e3eb3ec" providerId="LiveId" clId="{15B2D3AF-F67D-40B5-B068-0B9A9EB6B22E}" dt="2020-12-15T02:30:44.921" v="4267" actId="47"/>
        <pc:sldMkLst>
          <pc:docMk/>
          <pc:sldMk cId="2854798947" sldId="725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90546127" sldId="727"/>
        </pc:sldMkLst>
      </pc:sldChg>
      <pc:sldChg chg="del">
        <pc:chgData name="Alex Wise" userId="840534413e3eb3ec" providerId="LiveId" clId="{15B2D3AF-F67D-40B5-B068-0B9A9EB6B22E}" dt="2020-12-15T02:30:45.985" v="4268" actId="47"/>
        <pc:sldMkLst>
          <pc:docMk/>
          <pc:sldMk cId="309384422" sldId="72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415236596" sldId="72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4000064492" sldId="730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102640658" sldId="731"/>
        </pc:sldMkLst>
      </pc:sldChg>
      <pc:sldChg chg="del">
        <pc:chgData name="Alex Wise" userId="840534413e3eb3ec" providerId="LiveId" clId="{15B2D3AF-F67D-40B5-B068-0B9A9EB6B22E}" dt="2020-12-15T02:30:52.077" v="4273" actId="47"/>
        <pc:sldMkLst>
          <pc:docMk/>
          <pc:sldMk cId="2086495928" sldId="73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536337133" sldId="733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91673290" sldId="73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793223175" sldId="73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22834494" sldId="73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168154846" sldId="73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448722340" sldId="73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89533809" sldId="73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595029410" sldId="74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016775996" sldId="74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48235826" sldId="74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057127398" sldId="74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005489557" sldId="74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974749799" sldId="75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794726226" sldId="753"/>
        </pc:sldMkLst>
      </pc:sldChg>
      <pc:sldChg chg="addSp delSp modSp mod">
        <pc:chgData name="Alex Wise" userId="840534413e3eb3ec" providerId="LiveId" clId="{15B2D3AF-F67D-40B5-B068-0B9A9EB6B22E}" dt="2020-12-29T22:11:52.909" v="5254" actId="20577"/>
        <pc:sldMkLst>
          <pc:docMk/>
          <pc:sldMk cId="1899922442" sldId="757"/>
        </pc:sldMkLst>
        <pc:spChg chg="mod">
          <ac:chgData name="Alex Wise" userId="840534413e3eb3ec" providerId="LiveId" clId="{15B2D3AF-F67D-40B5-B068-0B9A9EB6B22E}" dt="2020-12-15T02:17:17.116" v="3794" actId="20577"/>
          <ac:spMkLst>
            <pc:docMk/>
            <pc:sldMk cId="1899922442" sldId="757"/>
            <ac:spMk id="2" creationId="{0E58A74D-79BC-4F9B-80E8-E7E7A94865E5}"/>
          </ac:spMkLst>
        </pc:spChg>
        <pc:spChg chg="del">
          <ac:chgData name="Alex Wise" userId="840534413e3eb3ec" providerId="LiveId" clId="{15B2D3AF-F67D-40B5-B068-0B9A9EB6B22E}" dt="2020-12-15T00:27:38.223" v="139" actId="478"/>
          <ac:spMkLst>
            <pc:docMk/>
            <pc:sldMk cId="1899922442" sldId="757"/>
            <ac:spMk id="3" creationId="{6EAD124A-68FA-484E-9CC3-B507FCEFFF35}"/>
          </ac:spMkLst>
        </pc:spChg>
        <pc:spChg chg="mod">
          <ac:chgData name="Alex Wise" userId="840534413e3eb3ec" providerId="LiveId" clId="{15B2D3AF-F67D-40B5-B068-0B9A9EB6B22E}" dt="2020-12-15T01:49:39.661" v="2717" actId="20577"/>
          <ac:spMkLst>
            <pc:docMk/>
            <pc:sldMk cId="1899922442" sldId="757"/>
            <ac:spMk id="4" creationId="{4037F6A1-6195-4FEF-9E46-C5B53FE2DE6C}"/>
          </ac:spMkLst>
        </pc:spChg>
        <pc:spChg chg="add mod">
          <ac:chgData name="Alex Wise" userId="840534413e3eb3ec" providerId="LiveId" clId="{15B2D3AF-F67D-40B5-B068-0B9A9EB6B22E}" dt="2020-12-29T22:11:52.909" v="5254" actId="20577"/>
          <ac:spMkLst>
            <pc:docMk/>
            <pc:sldMk cId="1899922442" sldId="757"/>
            <ac:spMk id="8" creationId="{9DB0226D-13AC-4B6A-BAF3-2F4E2FCA5131}"/>
          </ac:spMkLst>
        </pc:spChg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397678169" sldId="75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58776701" sldId="76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188606398" sldId="76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789834822" sldId="76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825115401" sldId="767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39026123" sldId="76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437112888" sldId="76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648929341" sldId="770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721981666" sldId="771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3599728780" sldId="77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52970453" sldId="77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647400462" sldId="774"/>
        </pc:sldMkLst>
      </pc:sldChg>
      <pc:sldChg chg="addSp delSp modSp del mod">
        <pc:chgData name="Alex Wise" userId="840534413e3eb3ec" providerId="LiveId" clId="{15B2D3AF-F67D-40B5-B068-0B9A9EB6B22E}" dt="2020-12-15T01:05:20.335" v="543" actId="47"/>
        <pc:sldMkLst>
          <pc:docMk/>
          <pc:sldMk cId="514403906" sldId="776"/>
        </pc:sldMkLst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2" creationId="{CD2AAF18-8690-2F4D-B3DA-0A75C191CC5D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4" creationId="{A6DE7AEE-F543-554C-B3C5-1F00B1669ADE}"/>
          </ac:spMkLst>
        </pc:spChg>
        <pc:spChg chg="add mod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5" creationId="{2DFFB28F-4C9E-40C1-A645-F6FD02CD286D}"/>
          </ac:spMkLst>
        </pc:spChg>
        <pc:spChg chg="mod">
          <ac:chgData name="Alex Wise" userId="840534413e3eb3ec" providerId="LiveId" clId="{15B2D3AF-F67D-40B5-B068-0B9A9EB6B22E}" dt="2020-12-15T00:28:31.770" v="300" actId="20577"/>
          <ac:spMkLst>
            <pc:docMk/>
            <pc:sldMk cId="514403906" sldId="776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7" creationId="{37B8BE70-02A7-904B-A071-7FB4CB4AB16B}"/>
          </ac:spMkLst>
        </pc:spChg>
        <pc:spChg chg="del">
          <ac:chgData name="Alex Wise" userId="840534413e3eb3ec" providerId="LiveId" clId="{15B2D3AF-F67D-40B5-B068-0B9A9EB6B22E}" dt="2020-12-15T00:30:19.810" v="368" actId="478"/>
          <ac:spMkLst>
            <pc:docMk/>
            <pc:sldMk cId="514403906" sldId="776"/>
            <ac:spMk id="12" creationId="{C6B27A35-E8A4-6241-A9AE-96A5DC1BB8A5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16" creationId="{B8BEFF75-C565-614B-A90B-314C7E4CA11B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18" creationId="{E41F9847-47E1-A541-B4E2-8F87B1EBF360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19" creationId="{24AC9CE7-2C22-8A49-B58B-26726CF04B09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28" creationId="{6BFEF609-B2C5-5A47-925E-D594DC9F79D1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29" creationId="{0EE5427F-6193-944A-8FB9-6394598A907A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1" creationId="{969E87D0-DC16-974B-BE7C-5076B3D321AA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2" creationId="{73C85077-39A3-9E48-9BED-30154D775D25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3" creationId="{609A55D5-4DEA-2045-B151-5405533CDCFB}"/>
          </ac:spMkLst>
        </pc:spChg>
        <pc:spChg chg="del">
          <ac:chgData name="Alex Wise" userId="840534413e3eb3ec" providerId="LiveId" clId="{15B2D3AF-F67D-40B5-B068-0B9A9EB6B22E}" dt="2020-12-15T00:30:22.332" v="370" actId="478"/>
          <ac:spMkLst>
            <pc:docMk/>
            <pc:sldMk cId="514403906" sldId="776"/>
            <ac:spMk id="34" creationId="{25AEA391-7CE7-8C47-AF24-1E229E5E41C3}"/>
          </ac:spMkLst>
        </pc:spChg>
        <pc:picChg chg="del">
          <ac:chgData name="Alex Wise" userId="840534413e3eb3ec" providerId="LiveId" clId="{15B2D3AF-F67D-40B5-B068-0B9A9EB6B22E}" dt="2020-12-15T00:30:22.332" v="370" actId="478"/>
          <ac:picMkLst>
            <pc:docMk/>
            <pc:sldMk cId="514403906" sldId="776"/>
            <ac:picMk id="9" creationId="{3AEF64CF-53B5-8A4D-9BC9-58488FDD5488}"/>
          </ac:picMkLst>
        </pc:picChg>
        <pc:picChg chg="del">
          <ac:chgData name="Alex Wise" userId="840534413e3eb3ec" providerId="LiveId" clId="{15B2D3AF-F67D-40B5-B068-0B9A9EB6B22E}" dt="2020-12-15T00:30:20.770" v="369" actId="478"/>
          <ac:picMkLst>
            <pc:docMk/>
            <pc:sldMk cId="514403906" sldId="776"/>
            <ac:picMk id="14" creationId="{25945925-2781-7642-9073-100CBE061D4D}"/>
          </ac:picMkLst>
        </pc:picChg>
        <pc:cxnChg chg="del">
          <ac:chgData name="Alex Wise" userId="840534413e3eb3ec" providerId="LiveId" clId="{15B2D3AF-F67D-40B5-B068-0B9A9EB6B22E}" dt="2020-12-15T00:30:22.332" v="370" actId="478"/>
          <ac:cxnSpMkLst>
            <pc:docMk/>
            <pc:sldMk cId="514403906" sldId="776"/>
            <ac:cxnSpMk id="23" creationId="{4474B4B0-ADD4-E54C-8D7D-5F0FB25E2B8B}"/>
          </ac:cxnSpMkLst>
        </pc:cxnChg>
        <pc:cxnChg chg="del">
          <ac:chgData name="Alex Wise" userId="840534413e3eb3ec" providerId="LiveId" clId="{15B2D3AF-F67D-40B5-B068-0B9A9EB6B22E}" dt="2020-12-15T00:30:22.332" v="370" actId="478"/>
          <ac:cxnSpMkLst>
            <pc:docMk/>
            <pc:sldMk cId="514403906" sldId="776"/>
            <ac:cxnSpMk id="25" creationId="{DF778F30-918A-CF4F-A0C1-880640142F16}"/>
          </ac:cxnSpMkLst>
        </pc:cxnChg>
      </pc:sldChg>
      <pc:sldChg chg="delSp del mod">
        <pc:chgData name="Alex Wise" userId="840534413e3eb3ec" providerId="LiveId" clId="{15B2D3AF-F67D-40B5-B068-0B9A9EB6B22E}" dt="2020-12-15T01:05:39.114" v="570" actId="47"/>
        <pc:sldMkLst>
          <pc:docMk/>
          <pc:sldMk cId="3422462406" sldId="777"/>
        </pc:sldMkLst>
        <pc:spChg chg="del">
          <ac:chgData name="Alex Wise" userId="840534413e3eb3ec" providerId="LiveId" clId="{15B2D3AF-F67D-40B5-B068-0B9A9EB6B22E}" dt="2020-12-15T00:30:25.616" v="371" actId="478"/>
          <ac:spMkLst>
            <pc:docMk/>
            <pc:sldMk cId="3422462406" sldId="777"/>
            <ac:spMk id="2" creationId="{CE642C8B-09D7-434F-93F0-5F28846253EA}"/>
          </ac:spMkLst>
        </pc:spChg>
        <pc:spChg chg="del">
          <ac:chgData name="Alex Wise" userId="840534413e3eb3ec" providerId="LiveId" clId="{15B2D3AF-F67D-40B5-B068-0B9A9EB6B22E}" dt="2020-12-15T00:30:25.616" v="371" actId="478"/>
          <ac:spMkLst>
            <pc:docMk/>
            <pc:sldMk cId="3422462406" sldId="777"/>
            <ac:spMk id="4" creationId="{5A0604FD-E082-4A49-9D1C-0E6192131204}"/>
          </ac:spMkLst>
        </pc:spChg>
        <pc:graphicFrameChg chg="del">
          <ac:chgData name="Alex Wise" userId="840534413e3eb3ec" providerId="LiveId" clId="{15B2D3AF-F67D-40B5-B068-0B9A9EB6B22E}" dt="2020-12-15T00:30:25.616" v="371" actId="478"/>
          <ac:graphicFrameMkLst>
            <pc:docMk/>
            <pc:sldMk cId="3422462406" sldId="777"/>
            <ac:graphicFrameMk id="8" creationId="{F1CF6F17-AC19-4D00-9143-133435391708}"/>
          </ac:graphicFrameMkLst>
        </pc:graphicFrameChg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24225019" sldId="77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24014661" sldId="77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193076008" sldId="781"/>
        </pc:sldMkLst>
      </pc:sldChg>
      <pc:sldChg chg="del">
        <pc:chgData name="Alex Wise" userId="840534413e3eb3ec" providerId="LiveId" clId="{15B2D3AF-F67D-40B5-B068-0B9A9EB6B22E}" dt="2020-12-15T01:06:39.959" v="644" actId="47"/>
        <pc:sldMkLst>
          <pc:docMk/>
          <pc:sldMk cId="3233024088" sldId="78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99163525" sldId="79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319703674" sldId="87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313191614" sldId="88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097882472" sldId="88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21160206" sldId="88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0363075" sldId="88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53369821" sldId="88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12129619" sldId="88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596307057" sldId="890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152833017" sldId="905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395988734" sldId="910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28811870" sldId="91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34115263" sldId="92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47772729" sldId="926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749557169" sldId="92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16216559" sldId="93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380464995" sldId="93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855725431" sldId="94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840055993" sldId="960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454583240" sldId="962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1159331279" sldId="97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12545599" sldId="97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879680845" sldId="1234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179618612" sldId="1236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857545782" sldId="1253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4043362484" sldId="1284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77771791" sldId="143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103422854" sldId="145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556289376" sldId="146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061811234" sldId="147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153745142" sldId="149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366936666" sldId="175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298969494" sldId="177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60970934" sldId="2497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422799901" sldId="2533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08545513" sldId="308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755491" sldId="311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274755717" sldId="3483"/>
        </pc:sldMkLst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734359125" sldId="3659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1939256329" sldId="369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21569846" sldId="3708"/>
        </pc:sldMkLst>
      </pc:sldChg>
      <pc:sldChg chg="del">
        <pc:chgData name="Alex Wise" userId="840534413e3eb3ec" providerId="LiveId" clId="{15B2D3AF-F67D-40B5-B068-0B9A9EB6B22E}" dt="2020-12-15T02:32:54.683" v="4375" actId="47"/>
        <pc:sldMkLst>
          <pc:docMk/>
          <pc:sldMk cId="2081818402" sldId="371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142597900" sldId="4104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532531116" sldId="4145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2361413543" sldId="415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470177694" sldId="4167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295640031" sldId="4169"/>
        </pc:sldMkLst>
      </pc:sldChg>
      <pc:sldChg chg="delSp modSp del mod ord">
        <pc:chgData name="Alex Wise" userId="840534413e3eb3ec" providerId="LiveId" clId="{15B2D3AF-F67D-40B5-B068-0B9A9EB6B22E}" dt="2020-12-15T01:04:54.025" v="504" actId="47"/>
        <pc:sldMkLst>
          <pc:docMk/>
          <pc:sldMk cId="476380559" sldId="4232"/>
        </pc:sldMkLst>
        <pc:spChg chg="mod">
          <ac:chgData name="Alex Wise" userId="840534413e3eb3ec" providerId="LiveId" clId="{15B2D3AF-F67D-40B5-B068-0B9A9EB6B22E}" dt="2020-12-15T00:30:06.033" v="354" actId="20577"/>
          <ac:spMkLst>
            <pc:docMk/>
            <pc:sldMk cId="476380559" sldId="4232"/>
            <ac:spMk id="13" creationId="{00000000-0000-0000-0000-000000000000}"/>
          </ac:spMkLst>
        </pc:spChg>
        <pc:graphicFrameChg chg="del">
          <ac:chgData name="Alex Wise" userId="840534413e3eb3ec" providerId="LiveId" clId="{15B2D3AF-F67D-40B5-B068-0B9A9EB6B22E}" dt="2020-12-15T00:30:51.043" v="373" actId="478"/>
          <ac:graphicFrameMkLst>
            <pc:docMk/>
            <pc:sldMk cId="476380559" sldId="4232"/>
            <ac:graphicFrameMk id="5" creationId="{11E2A817-D23A-4E5D-B481-1CCCB3E5B68F}"/>
          </ac:graphicFrameMkLst>
        </pc:graphicFrameChg>
      </pc:sldChg>
      <pc:sldChg chg="delSp modSp del mod ord">
        <pc:chgData name="Alex Wise" userId="840534413e3eb3ec" providerId="LiveId" clId="{15B2D3AF-F67D-40B5-B068-0B9A9EB6B22E}" dt="2020-12-15T01:06:01.216" v="584" actId="47"/>
        <pc:sldMkLst>
          <pc:docMk/>
          <pc:sldMk cId="820311594" sldId="4233"/>
        </pc:sldMkLst>
        <pc:spChg chg="del">
          <ac:chgData name="Alex Wise" userId="840534413e3eb3ec" providerId="LiveId" clId="{15B2D3AF-F67D-40B5-B068-0B9A9EB6B22E}" dt="2020-12-15T00:31:13.738" v="375" actId="478"/>
          <ac:spMkLst>
            <pc:docMk/>
            <pc:sldMk cId="820311594" sldId="4233"/>
            <ac:spMk id="9" creationId="{00000000-0000-0000-0000-000000000000}"/>
          </ac:spMkLst>
        </pc:spChg>
        <pc:spChg chg="mod">
          <ac:chgData name="Alex Wise" userId="840534413e3eb3ec" providerId="LiveId" clId="{15B2D3AF-F67D-40B5-B068-0B9A9EB6B22E}" dt="2020-12-15T00:30:12.955" v="367" actId="20577"/>
          <ac:spMkLst>
            <pc:docMk/>
            <pc:sldMk cId="820311594" sldId="4233"/>
            <ac:spMk id="13" creationId="{00000000-0000-0000-0000-000000000000}"/>
          </ac:spMkLst>
        </pc:spChg>
        <pc:graphicFrameChg chg="del">
          <ac:chgData name="Alex Wise" userId="840534413e3eb3ec" providerId="LiveId" clId="{15B2D3AF-F67D-40B5-B068-0B9A9EB6B22E}" dt="2020-12-15T00:31:08.675" v="374" actId="478"/>
          <ac:graphicFrameMkLst>
            <pc:docMk/>
            <pc:sldMk cId="820311594" sldId="4233"/>
            <ac:graphicFrameMk id="5" creationId="{11E2A817-D23A-4E5D-B481-1CCCB3E5B68F}"/>
          </ac:graphicFrameMkLst>
        </pc:graphicFrameChg>
      </pc:sldChg>
      <pc:sldChg chg="del">
        <pc:chgData name="Alex Wise" userId="840534413e3eb3ec" providerId="LiveId" clId="{15B2D3AF-F67D-40B5-B068-0B9A9EB6B22E}" dt="2020-12-15T02:31:13.167" v="4277" actId="47"/>
        <pc:sldMkLst>
          <pc:docMk/>
          <pc:sldMk cId="229178620" sldId="4248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488529578" sldId="4249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504014301" sldId="4251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1945305471" sldId="4252"/>
        </pc:sldMkLst>
      </pc:sldChg>
      <pc:sldChg chg="del">
        <pc:chgData name="Alex Wise" userId="840534413e3eb3ec" providerId="LiveId" clId="{15B2D3AF-F67D-40B5-B068-0B9A9EB6B22E}" dt="2020-12-15T02:33:02.229" v="4376" actId="47"/>
        <pc:sldMkLst>
          <pc:docMk/>
          <pc:sldMk cId="3306568731" sldId="4254"/>
        </pc:sldMkLst>
      </pc:sldChg>
      <pc:sldChg chg="modSp add del mod">
        <pc:chgData name="Alex Wise" userId="840534413e3eb3ec" providerId="LiveId" clId="{15B2D3AF-F67D-40B5-B068-0B9A9EB6B22E}" dt="2020-12-15T01:06:38.911" v="643" actId="47"/>
        <pc:sldMkLst>
          <pc:docMk/>
          <pc:sldMk cId="2585653701" sldId="4255"/>
        </pc:sldMkLst>
        <pc:spChg chg="mod">
          <ac:chgData name="Alex Wise" userId="840534413e3eb3ec" providerId="LiveId" clId="{15B2D3AF-F67D-40B5-B068-0B9A9EB6B22E}" dt="2020-12-15T00:32:19.418" v="388" actId="20577"/>
          <ac:spMkLst>
            <pc:docMk/>
            <pc:sldMk cId="2585653701" sldId="4255"/>
            <ac:spMk id="13" creationId="{00000000-0000-0000-0000-000000000000}"/>
          </ac:spMkLst>
        </pc:spChg>
      </pc:sldChg>
      <pc:sldChg chg="modSp add del mod">
        <pc:chgData name="Alex Wise" userId="840534413e3eb3ec" providerId="LiveId" clId="{15B2D3AF-F67D-40B5-B068-0B9A9EB6B22E}" dt="2020-12-15T01:47:41.373" v="2516" actId="47"/>
        <pc:sldMkLst>
          <pc:docMk/>
          <pc:sldMk cId="786825161" sldId="4256"/>
        </pc:sldMkLst>
        <pc:spChg chg="mod">
          <ac:chgData name="Alex Wise" userId="840534413e3eb3ec" providerId="LiveId" clId="{15B2D3AF-F67D-40B5-B068-0B9A9EB6B22E}" dt="2020-12-15T00:32:42.209" v="439" actId="20577"/>
          <ac:spMkLst>
            <pc:docMk/>
            <pc:sldMk cId="786825161" sldId="4256"/>
            <ac:spMk id="6" creationId="{E4C98F3C-D1E4-144A-9D35-C02A19043A72}"/>
          </ac:spMkLst>
        </pc:spChg>
        <pc:spChg chg="mod">
          <ac:chgData name="Alex Wise" userId="840534413e3eb3ec" providerId="LiveId" clId="{15B2D3AF-F67D-40B5-B068-0B9A9EB6B22E}" dt="2020-12-15T00:32:49.826" v="450" actId="20577"/>
          <ac:spMkLst>
            <pc:docMk/>
            <pc:sldMk cId="786825161" sldId="4256"/>
            <ac:spMk id="8" creationId="{AA8489B8-7D4D-9F4A-9BA8-477DD4F45FC4}"/>
          </ac:spMkLst>
        </pc:spChg>
      </pc:sldChg>
      <pc:sldChg chg="modSp add del mod">
        <pc:chgData name="Alex Wise" userId="840534413e3eb3ec" providerId="LiveId" clId="{15B2D3AF-F67D-40B5-B068-0B9A9EB6B22E}" dt="2020-12-15T01:07:37.427" v="759" actId="47"/>
        <pc:sldMkLst>
          <pc:docMk/>
          <pc:sldMk cId="2742947736" sldId="4257"/>
        </pc:sldMkLst>
        <pc:spChg chg="mod">
          <ac:chgData name="Alex Wise" userId="840534413e3eb3ec" providerId="LiveId" clId="{15B2D3AF-F67D-40B5-B068-0B9A9EB6B22E}" dt="2020-12-15T01:05:06.815" v="530" actId="20577"/>
          <ac:spMkLst>
            <pc:docMk/>
            <pc:sldMk cId="2742947736" sldId="4257"/>
            <ac:spMk id="8" creationId="{AA8489B8-7D4D-9F4A-9BA8-477DD4F45FC4}"/>
          </ac:spMkLst>
        </pc:spChg>
      </pc:sldChg>
      <pc:sldChg chg="modSp add del mod">
        <pc:chgData name="Alex Wise" userId="840534413e3eb3ec" providerId="LiveId" clId="{15B2D3AF-F67D-40B5-B068-0B9A9EB6B22E}" dt="2020-12-15T01:05:18.653" v="542" actId="47"/>
        <pc:sldMkLst>
          <pc:docMk/>
          <pc:sldMk cId="2462500516" sldId="4258"/>
        </pc:sldMkLst>
        <pc:spChg chg="mod">
          <ac:chgData name="Alex Wise" userId="840534413e3eb3ec" providerId="LiveId" clId="{15B2D3AF-F67D-40B5-B068-0B9A9EB6B22E}" dt="2020-12-15T01:04:20.400" v="476" actId="20577"/>
          <ac:spMkLst>
            <pc:docMk/>
            <pc:sldMk cId="2462500516" sldId="4258"/>
            <ac:spMk id="6" creationId="{E4C98F3C-D1E4-144A-9D35-C02A19043A72}"/>
          </ac:spMkLst>
        </pc:spChg>
      </pc:sldChg>
      <pc:sldChg chg="addSp delSp modSp add del mod">
        <pc:chgData name="Alex Wise" userId="840534413e3eb3ec" providerId="LiveId" clId="{15B2D3AF-F67D-40B5-B068-0B9A9EB6B22E}" dt="2020-12-15T02:14:03.143" v="3765" actId="47"/>
        <pc:sldMkLst>
          <pc:docMk/>
          <pc:sldMk cId="1217853962" sldId="4259"/>
        </pc:sldMkLst>
        <pc:spChg chg="add mod">
          <ac:chgData name="Alex Wise" userId="840534413e3eb3ec" providerId="LiveId" clId="{15B2D3AF-F67D-40B5-B068-0B9A9EB6B22E}" dt="2020-12-15T01:53:35.677" v="2969" actId="20577"/>
          <ac:spMkLst>
            <pc:docMk/>
            <pc:sldMk cId="1217853962" sldId="4259"/>
            <ac:spMk id="3" creationId="{83418F1B-34C7-45A0-874E-2236A687FC71}"/>
          </ac:spMkLst>
        </pc:spChg>
        <pc:spChg chg="mod">
          <ac:chgData name="Alex Wise" userId="840534413e3eb3ec" providerId="LiveId" clId="{15B2D3AF-F67D-40B5-B068-0B9A9EB6B22E}" dt="2020-12-15T01:56:39.086" v="3274" actId="20577"/>
          <ac:spMkLst>
            <pc:docMk/>
            <pc:sldMk cId="1217853962" sldId="4259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1:05:32.928" v="568" actId="20577"/>
          <ac:spMkLst>
            <pc:docMk/>
            <pc:sldMk cId="1217853962" sldId="4259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1:47:52.383" v="2518" actId="478"/>
          <ac:spMkLst>
            <pc:docMk/>
            <pc:sldMk cId="1217853962" sldId="4259"/>
            <ac:spMk id="8" creationId="{AA8489B8-7D4D-9F4A-9BA8-477DD4F45FC4}"/>
          </ac:spMkLst>
        </pc:spChg>
      </pc:sldChg>
      <pc:sldChg chg="addSp delSp modSp add mod">
        <pc:chgData name="Alex Wise" userId="840534413e3eb3ec" providerId="LiveId" clId="{15B2D3AF-F67D-40B5-B068-0B9A9EB6B22E}" dt="2020-12-29T20:20:01.149" v="5091" actId="20577"/>
        <pc:sldMkLst>
          <pc:docMk/>
          <pc:sldMk cId="2946356019" sldId="4260"/>
        </pc:sldMkLst>
        <pc:spChg chg="add del mod">
          <ac:chgData name="Alex Wise" userId="840534413e3eb3ec" providerId="LiveId" clId="{15B2D3AF-F67D-40B5-B068-0B9A9EB6B22E}" dt="2020-12-15T01:53:49.956" v="2970" actId="478"/>
          <ac:spMkLst>
            <pc:docMk/>
            <pc:sldMk cId="2946356019" sldId="4260"/>
            <ac:spMk id="3" creationId="{4E436D1E-A8E7-46FC-9021-3B831930A09A}"/>
          </ac:spMkLst>
        </pc:spChg>
        <pc:spChg chg="mod">
          <ac:chgData name="Alex Wise" userId="840534413e3eb3ec" providerId="LiveId" clId="{15B2D3AF-F67D-40B5-B068-0B9A9EB6B22E}" dt="2020-12-29T20:20:01.149" v="5091" actId="20577"/>
          <ac:spMkLst>
            <pc:docMk/>
            <pc:sldMk cId="2946356019" sldId="4260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1:04:51.008" v="503" actId="20577"/>
          <ac:spMkLst>
            <pc:docMk/>
            <pc:sldMk cId="2946356019" sldId="4260"/>
            <ac:spMk id="6" creationId="{E4C98F3C-D1E4-144A-9D35-C02A19043A72}"/>
          </ac:spMkLst>
        </pc:spChg>
        <pc:spChg chg="del mod">
          <ac:chgData name="Alex Wise" userId="840534413e3eb3ec" providerId="LiveId" clId="{15B2D3AF-F67D-40B5-B068-0B9A9EB6B22E}" dt="2020-12-15T01:47:47.646" v="2517" actId="478"/>
          <ac:spMkLst>
            <pc:docMk/>
            <pc:sldMk cId="2946356019" sldId="4260"/>
            <ac:spMk id="8" creationId="{AA8489B8-7D4D-9F4A-9BA8-477DD4F45FC4}"/>
          </ac:spMkLst>
        </pc:spChg>
      </pc:sldChg>
      <pc:sldChg chg="addSp delSp modSp add del mod">
        <pc:chgData name="Alex Wise" userId="840534413e3eb3ec" providerId="LiveId" clId="{15B2D3AF-F67D-40B5-B068-0B9A9EB6B22E}" dt="2020-12-15T02:30:16.987" v="4263" actId="47"/>
        <pc:sldMkLst>
          <pc:docMk/>
          <pc:sldMk cId="2420511022" sldId="4261"/>
        </pc:sldMkLst>
        <pc:spChg chg="add mod">
          <ac:chgData name="Alex Wise" userId="840534413e3eb3ec" providerId="LiveId" clId="{15B2D3AF-F67D-40B5-B068-0B9A9EB6B22E}" dt="2020-12-15T01:47:55.846" v="2519" actId="478"/>
          <ac:spMkLst>
            <pc:docMk/>
            <pc:sldMk cId="2420511022" sldId="4261"/>
            <ac:spMk id="3" creationId="{97FF0F37-74BD-4A0F-B68A-334FC0BAF1FE}"/>
          </ac:spMkLst>
        </pc:spChg>
        <pc:spChg chg="mod">
          <ac:chgData name="Alex Wise" userId="840534413e3eb3ec" providerId="LiveId" clId="{15B2D3AF-F67D-40B5-B068-0B9A9EB6B22E}" dt="2020-12-15T01:05:45.112" v="582" actId="20577"/>
          <ac:spMkLst>
            <pc:docMk/>
            <pc:sldMk cId="2420511022" sldId="4261"/>
            <ac:spMk id="6" creationId="{E4C98F3C-D1E4-144A-9D35-C02A19043A72}"/>
          </ac:spMkLst>
        </pc:spChg>
        <pc:spChg chg="del">
          <ac:chgData name="Alex Wise" userId="840534413e3eb3ec" providerId="LiveId" clId="{15B2D3AF-F67D-40B5-B068-0B9A9EB6B22E}" dt="2020-12-15T01:47:55.846" v="2519" actId="478"/>
          <ac:spMkLst>
            <pc:docMk/>
            <pc:sldMk cId="2420511022" sldId="4261"/>
            <ac:spMk id="8" creationId="{AA8489B8-7D4D-9F4A-9BA8-477DD4F45FC4}"/>
          </ac:spMkLst>
        </pc:spChg>
      </pc:sldChg>
      <pc:sldChg chg="addSp delSp modSp add mod">
        <pc:chgData name="Alex Wise" userId="840534413e3eb3ec" providerId="LiveId" clId="{15B2D3AF-F67D-40B5-B068-0B9A9EB6B22E}" dt="2020-12-31T16:26:13.703" v="5707" actId="20577"/>
        <pc:sldMkLst>
          <pc:docMk/>
          <pc:sldMk cId="3891324679" sldId="4262"/>
        </pc:sldMkLst>
        <pc:spChg chg="add del mod">
          <ac:chgData name="Alex Wise" userId="840534413e3eb3ec" providerId="LiveId" clId="{15B2D3AF-F67D-40B5-B068-0B9A9EB6B22E}" dt="2020-12-15T02:33:10.547" v="4377" actId="478"/>
          <ac:spMkLst>
            <pc:docMk/>
            <pc:sldMk cId="3891324679" sldId="4262"/>
            <ac:spMk id="3" creationId="{84D0ECA5-0398-44A3-87F2-6A06CE0CA73A}"/>
          </ac:spMkLst>
        </pc:spChg>
        <pc:spChg chg="mod">
          <ac:chgData name="Alex Wise" userId="840534413e3eb3ec" providerId="LiveId" clId="{15B2D3AF-F67D-40B5-B068-0B9A9EB6B22E}" dt="2020-12-31T16:26:13.703" v="5707" actId="20577"/>
          <ac:spMkLst>
            <pc:docMk/>
            <pc:sldMk cId="3891324679" sldId="4262"/>
            <ac:spMk id="5" creationId="{1029405C-2954-407F-968E-0E9B8107B001}"/>
          </ac:spMkLst>
        </pc:spChg>
        <pc:spChg chg="mod">
          <ac:chgData name="Alex Wise" userId="840534413e3eb3ec" providerId="LiveId" clId="{15B2D3AF-F67D-40B5-B068-0B9A9EB6B22E}" dt="2020-12-15T01:06:17.674" v="623" actId="20577"/>
          <ac:spMkLst>
            <pc:docMk/>
            <pc:sldMk cId="3891324679" sldId="4262"/>
            <ac:spMk id="6" creationId="{E4C98F3C-D1E4-144A-9D35-C02A19043A72}"/>
          </ac:spMkLst>
        </pc:spChg>
        <pc:spChg chg="del mod">
          <ac:chgData name="Alex Wise" userId="840534413e3eb3ec" providerId="LiveId" clId="{15B2D3AF-F67D-40B5-B068-0B9A9EB6B22E}" dt="2020-12-15T01:47:59.006" v="2520" actId="478"/>
          <ac:spMkLst>
            <pc:docMk/>
            <pc:sldMk cId="3891324679" sldId="4262"/>
            <ac:spMk id="8" creationId="{AA8489B8-7D4D-9F4A-9BA8-477DD4F45FC4}"/>
          </ac:spMkLst>
        </pc:spChg>
      </pc:sldChg>
      <pc:sldChg chg="add del">
        <pc:chgData name="Alex Wise" userId="840534413e3eb3ec" providerId="LiveId" clId="{15B2D3AF-F67D-40B5-B068-0B9A9EB6B22E}" dt="2020-12-15T01:08:44.061" v="866" actId="47"/>
        <pc:sldMkLst>
          <pc:docMk/>
          <pc:sldMk cId="971777053" sldId="4263"/>
        </pc:sldMkLst>
      </pc:sldChg>
      <pc:sldChg chg="addSp delSp modSp add mod">
        <pc:chgData name="Alex Wise" userId="840534413e3eb3ec" providerId="LiveId" clId="{15B2D3AF-F67D-40B5-B068-0B9A9EB6B22E}" dt="2020-12-15T01:09:46.232" v="879" actId="478"/>
        <pc:sldMkLst>
          <pc:docMk/>
          <pc:sldMk cId="2434014714" sldId="4264"/>
        </pc:sldMkLst>
        <pc:spChg chg="del">
          <ac:chgData name="Alex Wise" userId="840534413e3eb3ec" providerId="LiveId" clId="{15B2D3AF-F67D-40B5-B068-0B9A9EB6B22E}" dt="2020-12-15T01:09:46.232" v="879" actId="478"/>
          <ac:spMkLst>
            <pc:docMk/>
            <pc:sldMk cId="2434014714" sldId="4264"/>
            <ac:spMk id="2" creationId="{A1F2DECD-54F6-CB4D-B48F-32DD40D2588D}"/>
          </ac:spMkLst>
        </pc:spChg>
        <pc:spChg chg="mod">
          <ac:chgData name="Alex Wise" userId="840534413e3eb3ec" providerId="LiveId" clId="{15B2D3AF-F67D-40B5-B068-0B9A9EB6B22E}" dt="2020-12-15T01:06:58.072" v="663" actId="20577"/>
          <ac:spMkLst>
            <pc:docMk/>
            <pc:sldMk cId="2434014714" sldId="4264"/>
            <ac:spMk id="5" creationId="{FF4060CE-CE3A-FE46-9926-A7BF459A0520}"/>
          </ac:spMkLst>
        </pc:spChg>
        <pc:spChg chg="add mod">
          <ac:chgData name="Alex Wise" userId="840534413e3eb3ec" providerId="LiveId" clId="{15B2D3AF-F67D-40B5-B068-0B9A9EB6B22E}" dt="2020-12-15T01:09:39.791" v="878" actId="20577"/>
          <ac:spMkLst>
            <pc:docMk/>
            <pc:sldMk cId="2434014714" sldId="4264"/>
            <ac:spMk id="25" creationId="{23522A12-0C34-4D48-857E-22659EE8A8C3}"/>
          </ac:spMkLst>
        </pc:spChg>
        <pc:spChg chg="add mod">
          <ac:chgData name="Alex Wise" userId="840534413e3eb3ec" providerId="LiveId" clId="{15B2D3AF-F67D-40B5-B068-0B9A9EB6B22E}" dt="2020-12-15T01:09:35.856" v="875" actId="20577"/>
          <ac:spMkLst>
            <pc:docMk/>
            <pc:sldMk cId="2434014714" sldId="4264"/>
            <ac:spMk id="28" creationId="{D7D4E1A4-9BC8-428E-BFCE-D45A347CA83E}"/>
          </ac:spMkLst>
        </pc:spChg>
        <pc:spChg chg="mod">
          <ac:chgData name="Alex Wise" userId="840534413e3eb3ec" providerId="LiveId" clId="{15B2D3AF-F67D-40B5-B068-0B9A9EB6B22E}" dt="2020-12-15T01:07:02.538" v="664" actId="6549"/>
          <ac:spMkLst>
            <pc:docMk/>
            <pc:sldMk cId="2434014714" sldId="4264"/>
            <ac:spMk id="29" creationId="{790A6BB2-C693-1E44-8C24-9EF4E2529AF5}"/>
          </ac:spMkLst>
        </pc:spChg>
        <pc:spChg chg="mod">
          <ac:chgData name="Alex Wise" userId="840534413e3eb3ec" providerId="LiveId" clId="{15B2D3AF-F67D-40B5-B068-0B9A9EB6B22E}" dt="2020-12-15T01:07:14.471" v="702" actId="20577"/>
          <ac:spMkLst>
            <pc:docMk/>
            <pc:sldMk cId="2434014714" sldId="4264"/>
            <ac:spMk id="37" creationId="{E8109992-68E6-9947-9120-1834EA0C6044}"/>
          </ac:spMkLst>
        </pc:spChg>
        <pc:spChg chg="mod">
          <ac:chgData name="Alex Wise" userId="840534413e3eb3ec" providerId="LiveId" clId="{15B2D3AF-F67D-40B5-B068-0B9A9EB6B22E}" dt="2020-12-15T01:07:32.928" v="758" actId="20577"/>
          <ac:spMkLst>
            <pc:docMk/>
            <pc:sldMk cId="2434014714" sldId="4264"/>
            <ac:spMk id="42" creationId="{9882782B-E89D-8840-8D79-2DC94CDAE941}"/>
          </ac:spMkLst>
        </pc:spChg>
        <pc:spChg chg="mod">
          <ac:chgData name="Alex Wise" userId="840534413e3eb3ec" providerId="LiveId" clId="{15B2D3AF-F67D-40B5-B068-0B9A9EB6B22E}" dt="2020-12-15T01:07:59.728" v="826" actId="20577"/>
          <ac:spMkLst>
            <pc:docMk/>
            <pc:sldMk cId="2434014714" sldId="4264"/>
            <ac:spMk id="58" creationId="{2AA17C5F-8734-CB4A-9CBF-E79AF431DD66}"/>
          </ac:spMkLst>
        </pc:spChg>
        <pc:spChg chg="mod">
          <ac:chgData name="Alex Wise" userId="840534413e3eb3ec" providerId="LiveId" clId="{15B2D3AF-F67D-40B5-B068-0B9A9EB6B22E}" dt="2020-12-15T01:08:15.320" v="838" actId="20577"/>
          <ac:spMkLst>
            <pc:docMk/>
            <pc:sldMk cId="2434014714" sldId="4264"/>
            <ac:spMk id="62" creationId="{6963270E-5EC9-5F42-B117-7EFEFF8078EF}"/>
          </ac:spMkLst>
        </pc:spChg>
        <pc:spChg chg="mod">
          <ac:chgData name="Alex Wise" userId="840534413e3eb3ec" providerId="LiveId" clId="{15B2D3AF-F67D-40B5-B068-0B9A9EB6B22E}" dt="2020-12-15T01:08:23.152" v="855" actId="20577"/>
          <ac:spMkLst>
            <pc:docMk/>
            <pc:sldMk cId="2434014714" sldId="4264"/>
            <ac:spMk id="66" creationId="{33D180BC-7CA0-4449-970D-C59D2CA4ACC2}"/>
          </ac:spMkLst>
        </pc:spChg>
        <pc:spChg chg="mod">
          <ac:chgData name="Alex Wise" userId="840534413e3eb3ec" providerId="LiveId" clId="{15B2D3AF-F67D-40B5-B068-0B9A9EB6B22E}" dt="2020-12-15T01:09:15.705" v="870" actId="1076"/>
          <ac:spMkLst>
            <pc:docMk/>
            <pc:sldMk cId="2434014714" sldId="4264"/>
            <ac:spMk id="70" creationId="{2D0D8AB9-FAB9-A247-9DD9-69920EDBE13F}"/>
          </ac:spMkLst>
        </pc:spChg>
        <pc:cxnChg chg="add mod">
          <ac:chgData name="Alex Wise" userId="840534413e3eb3ec" providerId="LiveId" clId="{15B2D3AF-F67D-40B5-B068-0B9A9EB6B22E}" dt="2020-12-15T01:09:21.545" v="872" actId="1076"/>
          <ac:cxnSpMkLst>
            <pc:docMk/>
            <pc:sldMk cId="2434014714" sldId="4264"/>
            <ac:cxnSpMk id="26" creationId="{27E55834-AF43-43D1-88B7-CE93A4A6DE7C}"/>
          </ac:cxnSpMkLst>
        </pc:cxnChg>
      </pc:sldChg>
      <pc:sldChg chg="addSp delSp modSp add mod">
        <pc:chgData name="Alex Wise" userId="840534413e3eb3ec" providerId="LiveId" clId="{15B2D3AF-F67D-40B5-B068-0B9A9EB6B22E}" dt="2020-12-15T01:47:34.096" v="2515" actId="1076"/>
        <pc:sldMkLst>
          <pc:docMk/>
          <pc:sldMk cId="3501846323" sldId="4265"/>
        </pc:sldMkLst>
        <pc:spChg chg="mod">
          <ac:chgData name="Alex Wise" userId="840534413e3eb3ec" providerId="LiveId" clId="{15B2D3AF-F67D-40B5-B068-0B9A9EB6B22E}" dt="2020-12-15T01:27:14.374" v="2038" actId="20577"/>
          <ac:spMkLst>
            <pc:docMk/>
            <pc:sldMk cId="3501846323" sldId="4265"/>
            <ac:spMk id="5" creationId="{D25C1E45-0A9B-4C0B-A154-9961D4962540}"/>
          </ac:spMkLst>
        </pc:spChg>
        <pc:spChg chg="mod">
          <ac:chgData name="Alex Wise" userId="840534413e3eb3ec" providerId="LiveId" clId="{15B2D3AF-F67D-40B5-B068-0B9A9EB6B22E}" dt="2020-12-15T01:44:23.261" v="2244" actId="20577"/>
          <ac:spMkLst>
            <pc:docMk/>
            <pc:sldMk cId="3501846323" sldId="4265"/>
            <ac:spMk id="26" creationId="{2460B543-AB0F-4358-970E-4186407E52BA}"/>
          </ac:spMkLst>
        </pc:spChg>
        <pc:spChg chg="mod">
          <ac:chgData name="Alex Wise" userId="840534413e3eb3ec" providerId="LiveId" clId="{15B2D3AF-F67D-40B5-B068-0B9A9EB6B22E}" dt="2020-12-15T01:44:45.958" v="2326" actId="20577"/>
          <ac:spMkLst>
            <pc:docMk/>
            <pc:sldMk cId="3501846323" sldId="4265"/>
            <ac:spMk id="35" creationId="{BB7B5D50-94B7-4EEB-9517-2092971294B7}"/>
          </ac:spMkLst>
        </pc:spChg>
        <pc:spChg chg="mod ord">
          <ac:chgData name="Alex Wise" userId="840534413e3eb3ec" providerId="LiveId" clId="{15B2D3AF-F67D-40B5-B068-0B9A9EB6B22E}" dt="2020-12-15T01:46:22.194" v="2503" actId="167"/>
          <ac:spMkLst>
            <pc:docMk/>
            <pc:sldMk cId="3501846323" sldId="4265"/>
            <ac:spMk id="36" creationId="{E108866D-5435-4ABB-B7B1-C84F2AE8C712}"/>
          </ac:spMkLst>
        </pc:spChg>
        <pc:spChg chg="del">
          <ac:chgData name="Alex Wise" userId="840534413e3eb3ec" providerId="LiveId" clId="{15B2D3AF-F67D-40B5-B068-0B9A9EB6B22E}" dt="2020-12-15T01:45:21.997" v="2496" actId="478"/>
          <ac:spMkLst>
            <pc:docMk/>
            <pc:sldMk cId="3501846323" sldId="4265"/>
            <ac:spMk id="44" creationId="{A75ECD9D-1A3E-483A-8064-FB2E3F58EDB6}"/>
          </ac:spMkLst>
        </pc:spChg>
        <pc:spChg chg="del">
          <ac:chgData name="Alex Wise" userId="840534413e3eb3ec" providerId="LiveId" clId="{15B2D3AF-F67D-40B5-B068-0B9A9EB6B22E}" dt="2020-12-15T01:45:18.605" v="2494" actId="478"/>
          <ac:spMkLst>
            <pc:docMk/>
            <pc:sldMk cId="3501846323" sldId="4265"/>
            <ac:spMk id="45" creationId="{BD3CEAA3-E922-4869-8B72-EF0B108BEAFE}"/>
          </ac:spMkLst>
        </pc:spChg>
        <pc:spChg chg="del">
          <ac:chgData name="Alex Wise" userId="840534413e3eb3ec" providerId="LiveId" clId="{15B2D3AF-F67D-40B5-B068-0B9A9EB6B22E}" dt="2020-12-15T01:45:20.341" v="2495" actId="478"/>
          <ac:spMkLst>
            <pc:docMk/>
            <pc:sldMk cId="3501846323" sldId="4265"/>
            <ac:spMk id="48" creationId="{5D06F342-06BC-4B5A-99C0-C2C16611A92F}"/>
          </ac:spMkLst>
        </pc:spChg>
        <pc:picChg chg="del">
          <ac:chgData name="Alex Wise" userId="840534413e3eb3ec" providerId="LiveId" clId="{15B2D3AF-F67D-40B5-B068-0B9A9EB6B22E}" dt="2020-12-15T01:47:15.381" v="2511" actId="478"/>
          <ac:picMkLst>
            <pc:docMk/>
            <pc:sldMk cId="3501846323" sldId="4265"/>
            <ac:picMk id="11" creationId="{FAD086E2-8722-4B40-A55D-57152218007E}"/>
          </ac:picMkLst>
        </pc:picChg>
        <pc:picChg chg="del mod">
          <ac:chgData name="Alex Wise" userId="840534413e3eb3ec" providerId="LiveId" clId="{15B2D3AF-F67D-40B5-B068-0B9A9EB6B22E}" dt="2020-12-15T01:47:11.165" v="2509" actId="478"/>
          <ac:picMkLst>
            <pc:docMk/>
            <pc:sldMk cId="3501846323" sldId="4265"/>
            <ac:picMk id="13" creationId="{3F434612-6B31-4049-A82F-5CBF002FDDBA}"/>
          </ac:picMkLst>
        </pc:picChg>
        <pc:picChg chg="del">
          <ac:chgData name="Alex Wise" userId="840534413e3eb3ec" providerId="LiveId" clId="{15B2D3AF-F67D-40B5-B068-0B9A9EB6B22E}" dt="2020-12-15T01:45:58.206" v="2497" actId="478"/>
          <ac:picMkLst>
            <pc:docMk/>
            <pc:sldMk cId="3501846323" sldId="4265"/>
            <ac:picMk id="15" creationId="{FBA4A639-E70F-1045-BB98-C9EFF173FF8B}"/>
          </ac:picMkLst>
        </pc:picChg>
        <pc:picChg chg="add del mod ord">
          <ac:chgData name="Alex Wise" userId="840534413e3eb3ec" providerId="LiveId" clId="{15B2D3AF-F67D-40B5-B068-0B9A9EB6B22E}" dt="2020-12-15T01:46:32.078" v="2506" actId="478"/>
          <ac:picMkLst>
            <pc:docMk/>
            <pc:sldMk cId="3501846323" sldId="4265"/>
            <ac:picMk id="16" creationId="{EBB34897-E8CC-48C2-A37B-146457632128}"/>
          </ac:picMkLst>
        </pc:picChg>
        <pc:picChg chg="add mod">
          <ac:chgData name="Alex Wise" userId="840534413e3eb3ec" providerId="LiveId" clId="{15B2D3AF-F67D-40B5-B068-0B9A9EB6B22E}" dt="2020-12-15T01:47:34.096" v="2515" actId="1076"/>
          <ac:picMkLst>
            <pc:docMk/>
            <pc:sldMk cId="3501846323" sldId="4265"/>
            <ac:picMk id="17" creationId="{351E023A-35F9-4CEF-9CA3-5828C22978E3}"/>
          </ac:picMkLst>
        </pc:picChg>
        <pc:picChg chg="add mod">
          <ac:chgData name="Alex Wise" userId="840534413e3eb3ec" providerId="LiveId" clId="{15B2D3AF-F67D-40B5-B068-0B9A9EB6B22E}" dt="2020-12-15T01:47:34.096" v="2515" actId="1076"/>
          <ac:picMkLst>
            <pc:docMk/>
            <pc:sldMk cId="3501846323" sldId="4265"/>
            <ac:picMk id="18" creationId="{096D3E21-1EC2-4B0A-852E-8FB03BF044D3}"/>
          </ac:picMkLst>
        </pc:picChg>
        <pc:picChg chg="add mod">
          <ac:chgData name="Alex Wise" userId="840534413e3eb3ec" providerId="LiveId" clId="{15B2D3AF-F67D-40B5-B068-0B9A9EB6B22E}" dt="2020-12-15T01:47:34.096" v="2515" actId="1076"/>
          <ac:picMkLst>
            <pc:docMk/>
            <pc:sldMk cId="3501846323" sldId="4265"/>
            <ac:picMk id="19" creationId="{7FE6F6DD-E829-4C0B-93E0-E2A87369C75E}"/>
          </ac:picMkLst>
        </pc:picChg>
      </pc:sldChg>
      <pc:sldChg chg="addSp delSp modSp add mod">
        <pc:chgData name="Alex Wise" userId="840534413e3eb3ec" providerId="LiveId" clId="{15B2D3AF-F67D-40B5-B068-0B9A9EB6B22E}" dt="2020-12-29T22:11:14.074" v="5239" actId="1076"/>
        <pc:sldMkLst>
          <pc:docMk/>
          <pc:sldMk cId="3244259886" sldId="4266"/>
        </pc:sldMkLst>
        <pc:spChg chg="del">
          <ac:chgData name="Alex Wise" userId="840534413e3eb3ec" providerId="LiveId" clId="{15B2D3AF-F67D-40B5-B068-0B9A9EB6B22E}" dt="2020-12-15T02:12:47.508" v="3750" actId="478"/>
          <ac:spMkLst>
            <pc:docMk/>
            <pc:sldMk cId="3244259886" sldId="4266"/>
            <ac:spMk id="2" creationId="{3C1C755E-3B33-8D4F-BC56-30FC64AD7CB0}"/>
          </ac:spMkLst>
        </pc:spChg>
        <pc:spChg chg="mod">
          <ac:chgData name="Alex Wise" userId="840534413e3eb3ec" providerId="LiveId" clId="{15B2D3AF-F67D-40B5-B068-0B9A9EB6B22E}" dt="2020-12-15T01:57:10.685" v="3292" actId="20577"/>
          <ac:spMkLst>
            <pc:docMk/>
            <pc:sldMk cId="3244259886" sldId="4266"/>
            <ac:spMk id="5" creationId="{A36AEEF9-5B05-4347-B4F6-6B37FC4124FE}"/>
          </ac:spMkLst>
        </pc:spChg>
        <pc:spChg chg="del mod">
          <ac:chgData name="Alex Wise" userId="840534413e3eb3ec" providerId="LiveId" clId="{15B2D3AF-F67D-40B5-B068-0B9A9EB6B22E}" dt="2020-12-15T02:00:10.869" v="3460" actId="478"/>
          <ac:spMkLst>
            <pc:docMk/>
            <pc:sldMk cId="3244259886" sldId="4266"/>
            <ac:spMk id="21" creationId="{4D1D1975-D461-1B49-AAAE-886E79DBB54C}"/>
          </ac:spMkLst>
        </pc:spChg>
        <pc:spChg chg="del">
          <ac:chgData name="Alex Wise" userId="840534413e3eb3ec" providerId="LiveId" clId="{15B2D3AF-F67D-40B5-B068-0B9A9EB6B22E}" dt="2020-12-15T02:00:59.676" v="3465" actId="478"/>
          <ac:spMkLst>
            <pc:docMk/>
            <pc:sldMk cId="3244259886" sldId="4266"/>
            <ac:spMk id="24" creationId="{D1471BF5-F739-8E4A-9968-5D61249C8758}"/>
          </ac:spMkLst>
        </pc:spChg>
        <pc:spChg chg="del">
          <ac:chgData name="Alex Wise" userId="840534413e3eb3ec" providerId="LiveId" clId="{15B2D3AF-F67D-40B5-B068-0B9A9EB6B22E}" dt="2020-12-15T01:57:46.460" v="3326" actId="478"/>
          <ac:spMkLst>
            <pc:docMk/>
            <pc:sldMk cId="3244259886" sldId="4266"/>
            <ac:spMk id="39" creationId="{1851D913-915D-4889-AF32-F93E2F61116D}"/>
          </ac:spMkLst>
        </pc:spChg>
        <pc:spChg chg="add del mod">
          <ac:chgData name="Alex Wise" userId="840534413e3eb3ec" providerId="LiveId" clId="{15B2D3AF-F67D-40B5-B068-0B9A9EB6B22E}" dt="2020-12-15T02:13:48.365" v="3764" actId="478"/>
          <ac:spMkLst>
            <pc:docMk/>
            <pc:sldMk cId="3244259886" sldId="4266"/>
            <ac:spMk id="40" creationId="{D36B36B3-A82E-4FA3-9A74-1045DEBBF497}"/>
          </ac:spMkLst>
        </pc:spChg>
        <pc:spChg chg="mod">
          <ac:chgData name="Alex Wise" userId="840534413e3eb3ec" providerId="LiveId" clId="{15B2D3AF-F67D-40B5-B068-0B9A9EB6B22E}" dt="2020-12-15T02:01:04.533" v="3480" actId="1036"/>
          <ac:spMkLst>
            <pc:docMk/>
            <pc:sldMk cId="3244259886" sldId="4266"/>
            <ac:spMk id="55" creationId="{1A9BC143-727C-4F20-B1FC-2388FBFF29DA}"/>
          </ac:spMkLst>
        </pc:spChg>
        <pc:spChg chg="del">
          <ac:chgData name="Alex Wise" userId="840534413e3eb3ec" providerId="LiveId" clId="{15B2D3AF-F67D-40B5-B068-0B9A9EB6B22E}" dt="2020-12-15T01:59:59.925" v="3455" actId="478"/>
          <ac:spMkLst>
            <pc:docMk/>
            <pc:sldMk cId="3244259886" sldId="4266"/>
            <ac:spMk id="58" creationId="{A97A1D16-493F-4A31-9562-BC99222F78A4}"/>
          </ac:spMkLst>
        </pc:spChg>
        <pc:spChg chg="mod">
          <ac:chgData name="Alex Wise" userId="840534413e3eb3ec" providerId="LiveId" clId="{15B2D3AF-F67D-40B5-B068-0B9A9EB6B22E}" dt="2020-12-19T16:40:39.494" v="4568" actId="20577"/>
          <ac:spMkLst>
            <pc:docMk/>
            <pc:sldMk cId="3244259886" sldId="4266"/>
            <ac:spMk id="60" creationId="{766B8308-579D-4688-98EA-5E42BF2BA581}"/>
          </ac:spMkLst>
        </pc:spChg>
        <pc:spChg chg="del">
          <ac:chgData name="Alex Wise" userId="840534413e3eb3ec" providerId="LiveId" clId="{15B2D3AF-F67D-40B5-B068-0B9A9EB6B22E}" dt="2020-12-15T02:00:54.756" v="3463" actId="478"/>
          <ac:spMkLst>
            <pc:docMk/>
            <pc:sldMk cId="3244259886" sldId="4266"/>
            <ac:spMk id="64" creationId="{8567B443-70FE-40B9-9C11-DECFE0BB679B}"/>
          </ac:spMkLst>
        </pc:spChg>
        <pc:spChg chg="mod">
          <ac:chgData name="Alex Wise" userId="840534413e3eb3ec" providerId="LiveId" clId="{15B2D3AF-F67D-40B5-B068-0B9A9EB6B22E}" dt="2020-12-15T02:12:45.805" v="3749" actId="20577"/>
          <ac:spMkLst>
            <pc:docMk/>
            <pc:sldMk cId="3244259886" sldId="4266"/>
            <ac:spMk id="65" creationId="{705C82D5-2FEA-47F7-B8AF-A265D457A967}"/>
          </ac:spMkLst>
        </pc:spChg>
        <pc:picChg chg="add mod">
          <ac:chgData name="Alex Wise" userId="840534413e3eb3ec" providerId="LiveId" clId="{15B2D3AF-F67D-40B5-B068-0B9A9EB6B22E}" dt="2020-12-29T22:11:14.074" v="5239" actId="1076"/>
          <ac:picMkLst>
            <pc:docMk/>
            <pc:sldMk cId="3244259886" sldId="4266"/>
            <ac:picMk id="6" creationId="{5D3347C4-83E2-47E0-AC73-F50938BBD504}"/>
          </ac:picMkLst>
        </pc:picChg>
        <pc:picChg chg="add del mod">
          <ac:chgData name="Alex Wise" userId="840534413e3eb3ec" providerId="LiveId" clId="{15B2D3AF-F67D-40B5-B068-0B9A9EB6B22E}" dt="2020-12-29T22:10:17.793" v="5235" actId="478"/>
          <ac:picMkLst>
            <pc:docMk/>
            <pc:sldMk cId="3244259886" sldId="4266"/>
            <ac:picMk id="8" creationId="{5C123878-8C81-4CDB-8824-F9822E184E1D}"/>
          </ac:picMkLst>
        </pc:picChg>
        <pc:picChg chg="mod">
          <ac:chgData name="Alex Wise" userId="840534413e3eb3ec" providerId="LiveId" clId="{15B2D3AF-F67D-40B5-B068-0B9A9EB6B22E}" dt="2020-12-15T02:01:04.533" v="3480" actId="1036"/>
          <ac:picMkLst>
            <pc:docMk/>
            <pc:sldMk cId="3244259886" sldId="4266"/>
            <ac:picMk id="9" creationId="{5B02F3F7-D478-4945-8EB5-0B34C76E92A7}"/>
          </ac:picMkLst>
        </pc:picChg>
        <pc:picChg chg="add mod">
          <ac:chgData name="Alex Wise" userId="840534413e3eb3ec" providerId="LiveId" clId="{15B2D3AF-F67D-40B5-B068-0B9A9EB6B22E}" dt="2020-12-15T02:13:47.733" v="3762" actId="1076"/>
          <ac:picMkLst>
            <pc:docMk/>
            <pc:sldMk cId="3244259886" sldId="4266"/>
            <ac:picMk id="11" creationId="{CF181018-34E1-4550-B208-0E61522BBDB6}"/>
          </ac:picMkLst>
        </pc:picChg>
        <pc:cxnChg chg="del">
          <ac:chgData name="Alex Wise" userId="840534413e3eb3ec" providerId="LiveId" clId="{15B2D3AF-F67D-40B5-B068-0B9A9EB6B22E}" dt="2020-12-15T02:00:11.828" v="3461" actId="478"/>
          <ac:cxnSpMkLst>
            <pc:docMk/>
            <pc:sldMk cId="3244259886" sldId="4266"/>
            <ac:cxnSpMk id="22" creationId="{A2992BE3-1C03-814D-BF0C-A1EBF9040A49}"/>
          </ac:cxnSpMkLst>
        </pc:cxnChg>
        <pc:cxnChg chg="del">
          <ac:chgData name="Alex Wise" userId="840534413e3eb3ec" providerId="LiveId" clId="{15B2D3AF-F67D-40B5-B068-0B9A9EB6B22E}" dt="2020-12-15T02:01:00.116" v="3466" actId="478"/>
          <ac:cxnSpMkLst>
            <pc:docMk/>
            <pc:sldMk cId="3244259886" sldId="4266"/>
            <ac:cxnSpMk id="25" creationId="{CE3059CB-D4AD-404D-B59D-7D2544BDFCC6}"/>
          </ac:cxnSpMkLst>
        </pc:cxnChg>
      </pc:sldChg>
      <pc:sldChg chg="addSp delSp modSp add del mod">
        <pc:chgData name="Alex Wise" userId="840534413e3eb3ec" providerId="LiveId" clId="{15B2D3AF-F67D-40B5-B068-0B9A9EB6B22E}" dt="2020-12-31T16:33:51.188" v="6078" actId="47"/>
        <pc:sldMkLst>
          <pc:docMk/>
          <pc:sldMk cId="905193857" sldId="4267"/>
        </pc:sldMkLst>
        <pc:spChg chg="mod">
          <ac:chgData name="Alex Wise" userId="840534413e3eb3ec" providerId="LiveId" clId="{15B2D3AF-F67D-40B5-B068-0B9A9EB6B22E}" dt="2020-12-15T02:17:36.859" v="3806" actId="20577"/>
          <ac:spMkLst>
            <pc:docMk/>
            <pc:sldMk cId="905193857" sldId="4267"/>
            <ac:spMk id="5" creationId="{14B552BE-1E21-42EE-9C22-CEE6AD4C6C2C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" creationId="{8DC2E9D8-E4E8-4E5A-9B89-EDF959CF2372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10" creationId="{E70057D7-36D8-4535-A7DE-74FB280939E5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11" creationId="{CB4284B1-7E3E-4B9C-8FF4-D9F3A0EA5765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5" creationId="{DF76DD66-79DB-4076-84D2-A77654B091DE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6" creationId="{1850B388-8F64-4C0A-AC83-430B3BE89842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7" creationId="{188E624E-D8E3-4201-BEF8-EA15421A14F2}"/>
          </ac:spMkLst>
        </pc:spChg>
        <pc:spChg chg="add mod">
          <ac:chgData name="Alex Wise" userId="840534413e3eb3ec" providerId="LiveId" clId="{15B2D3AF-F67D-40B5-B068-0B9A9EB6B22E}" dt="2020-12-15T02:26:01.130" v="4053" actId="1076"/>
          <ac:spMkLst>
            <pc:docMk/>
            <pc:sldMk cId="905193857" sldId="4267"/>
            <ac:spMk id="48" creationId="{7C95ABD8-F89D-4606-AA73-323FB8010ED5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56" creationId="{F99738AF-E528-45ED-9F23-0A712E5C5D52}"/>
          </ac:spMkLst>
        </pc:spChg>
        <pc:spChg chg="add 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59" creationId="{82D7DB8B-E3F8-4BDD-A10C-CA74A3D56B21}"/>
          </ac:spMkLst>
        </pc:spChg>
        <pc:spChg chg="add 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60" creationId="{6FE747A8-314C-49F4-B7D9-21E332001D46}"/>
          </ac:spMkLst>
        </pc:spChg>
        <pc:spChg chg="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61" creationId="{D1AA67D9-BB15-4B35-860D-66E66CB84D9F}"/>
          </ac:spMkLst>
        </pc:spChg>
        <pc:spChg chg="del mod">
          <ac:chgData name="Alex Wise" userId="840534413e3eb3ec" providerId="LiveId" clId="{15B2D3AF-F67D-40B5-B068-0B9A9EB6B22E}" dt="2020-12-15T02:26:15.461" v="4055" actId="478"/>
          <ac:spMkLst>
            <pc:docMk/>
            <pc:sldMk cId="905193857" sldId="4267"/>
            <ac:spMk id="62" creationId="{FE0A3816-0506-48D2-847E-819BF875093E}"/>
          </ac:spMkLst>
        </pc:spChg>
        <pc:spChg chg="del mod">
          <ac:chgData name="Alex Wise" userId="840534413e3eb3ec" providerId="LiveId" clId="{15B2D3AF-F67D-40B5-B068-0B9A9EB6B22E}" dt="2020-12-15T02:26:14.236" v="4054" actId="478"/>
          <ac:spMkLst>
            <pc:docMk/>
            <pc:sldMk cId="905193857" sldId="4267"/>
            <ac:spMk id="63" creationId="{92CBB39D-A7B6-4C55-9E73-B425AAC66D12}"/>
          </ac:spMkLst>
        </pc:spChg>
        <pc:spChg chg="del mod">
          <ac:chgData name="Alex Wise" userId="840534413e3eb3ec" providerId="LiveId" clId="{15B2D3AF-F67D-40B5-B068-0B9A9EB6B22E}" dt="2020-12-15T02:25:30.312" v="4046" actId="21"/>
          <ac:spMkLst>
            <pc:docMk/>
            <pc:sldMk cId="905193857" sldId="4267"/>
            <ac:spMk id="64" creationId="{DC4F71A4-EA7F-4801-9E0E-37879CE7C178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66" creationId="{F3909EC1-D4CB-4467-8258-FA9E6C991EA6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67" creationId="{714F5EC4-6115-4E06-BB87-194E74BD12A1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68" creationId="{F94EAB15-8857-449F-824A-0FF33858B239}"/>
          </ac:spMkLst>
        </pc:spChg>
        <pc:spChg chg="del mod">
          <ac:chgData name="Alex Wise" userId="840534413e3eb3ec" providerId="LiveId" clId="{15B2D3AF-F67D-40B5-B068-0B9A9EB6B22E}" dt="2020-12-15T02:32:08.373" v="4278" actId="478"/>
          <ac:spMkLst>
            <pc:docMk/>
            <pc:sldMk cId="905193857" sldId="4267"/>
            <ac:spMk id="70" creationId="{DE54BCF6-0CCF-45CC-B10B-1BBBBB58EDE3}"/>
          </ac:spMkLst>
        </pc:spChg>
        <pc:spChg chg="del mod">
          <ac:chgData name="Alex Wise" userId="840534413e3eb3ec" providerId="LiveId" clId="{15B2D3AF-F67D-40B5-B068-0B9A9EB6B22E}" dt="2020-12-15T02:32:10.292" v="4279" actId="478"/>
          <ac:spMkLst>
            <pc:docMk/>
            <pc:sldMk cId="905193857" sldId="4267"/>
            <ac:spMk id="71" creationId="{5CB5D8F7-28F0-4417-8A40-00028AA90E6B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73" creationId="{CC7C9495-D1AE-4AC4-9CF7-60B54ABE7615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74" creationId="{9531B67E-23BC-40E7-AFEE-43EB13FF2D3B}"/>
          </ac:spMkLst>
        </pc:spChg>
        <pc:spChg chg="mod">
          <ac:chgData name="Alex Wise" userId="840534413e3eb3ec" providerId="LiveId" clId="{15B2D3AF-F67D-40B5-B068-0B9A9EB6B22E}" dt="2020-12-15T02:32:42.834" v="4373" actId="1076"/>
          <ac:spMkLst>
            <pc:docMk/>
            <pc:sldMk cId="905193857" sldId="4267"/>
            <ac:spMk id="79" creationId="{F0372D31-0B91-4754-BB47-AFEB5232BC4D}"/>
          </ac:spMkLst>
        </pc:spChg>
        <pc:spChg chg="del">
          <ac:chgData name="Alex Wise" userId="840534413e3eb3ec" providerId="LiveId" clId="{15B2D3AF-F67D-40B5-B068-0B9A9EB6B22E}" dt="2020-12-15T02:32:46.442" v="4374" actId="478"/>
          <ac:spMkLst>
            <pc:docMk/>
            <pc:sldMk cId="905193857" sldId="4267"/>
            <ac:spMk id="83" creationId="{796F6114-C8D1-41E0-83B2-DE894EE2CAB0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87" creationId="{8569E110-1ED0-6347-BCB5-C8EA29133B5D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89" creationId="{122216B3-802F-8940-A495-56AD4E0044B9}"/>
          </ac:spMkLst>
        </pc:spChg>
        <pc:spChg chg="del mod">
          <ac:chgData name="Alex Wise" userId="840534413e3eb3ec" providerId="LiveId" clId="{15B2D3AF-F67D-40B5-B068-0B9A9EB6B22E}" dt="2020-12-31T16:13:52.120" v="5255" actId="478"/>
          <ac:spMkLst>
            <pc:docMk/>
            <pc:sldMk cId="905193857" sldId="4267"/>
            <ac:spMk id="95" creationId="{53E9648E-BCAE-834F-93BC-813BB37220D3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6" creationId="{8AC94206-1B43-754F-B4B7-789607FE16C3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7" creationId="{79A2BF5E-71F4-9542-A1AB-D32EF4582A6B}"/>
          </ac:spMkLst>
        </pc:spChg>
        <pc:spChg chg="mod">
          <ac:chgData name="Alex Wise" userId="840534413e3eb3ec" providerId="LiveId" clId="{15B2D3AF-F67D-40B5-B068-0B9A9EB6B22E}" dt="2020-12-15T02:32:21.036" v="4284" actId="1076"/>
          <ac:spMkLst>
            <pc:docMk/>
            <pc:sldMk cId="905193857" sldId="4267"/>
            <ac:spMk id="98" creationId="{7AAA3941-EE5D-BA4C-9737-F19A1EE7A22D}"/>
          </ac:spMkLst>
        </pc:spChg>
        <pc:grpChg chg="mod">
          <ac:chgData name="Alex Wise" userId="840534413e3eb3ec" providerId="LiveId" clId="{15B2D3AF-F67D-40B5-B068-0B9A9EB6B22E}" dt="2020-12-15T02:32:21.036" v="4284" actId="1076"/>
          <ac:grpSpMkLst>
            <pc:docMk/>
            <pc:sldMk cId="905193857" sldId="4267"/>
            <ac:grpSpMk id="2" creationId="{F52D5254-5C24-E343-9F11-E5AA47B5C18F}"/>
          </ac:grpSpMkLst>
        </pc:grpChg>
        <pc:grpChg chg="del mod">
          <ac:chgData name="Alex Wise" userId="840534413e3eb3ec" providerId="LiveId" clId="{15B2D3AF-F67D-40B5-B068-0B9A9EB6B22E}" dt="2020-12-15T02:26:14.236" v="4054" actId="478"/>
          <ac:grpSpMkLst>
            <pc:docMk/>
            <pc:sldMk cId="905193857" sldId="4267"/>
            <ac:grpSpMk id="58" creationId="{6BF6EE72-3813-4200-AA4A-EEAA3648D09F}"/>
          </ac:grpSpMkLst>
        </pc:grpChg>
        <pc:grpChg chg="mod">
          <ac:chgData name="Alex Wise" userId="840534413e3eb3ec" providerId="LiveId" clId="{15B2D3AF-F67D-40B5-B068-0B9A9EB6B22E}" dt="2020-12-15T02:32:21.036" v="4284" actId="1076"/>
          <ac:grpSpMkLst>
            <pc:docMk/>
            <pc:sldMk cId="905193857" sldId="4267"/>
            <ac:grpSpMk id="65" creationId="{A16D8769-A172-422C-AAC2-CEA5986E45F3}"/>
          </ac:grpSpMkLst>
        </pc:grpChg>
        <pc:grpChg chg="del mod">
          <ac:chgData name="Alex Wise" userId="840534413e3eb3ec" providerId="LiveId" clId="{15B2D3AF-F67D-40B5-B068-0B9A9EB6B22E}" dt="2020-12-15T02:32:08.373" v="4278" actId="478"/>
          <ac:grpSpMkLst>
            <pc:docMk/>
            <pc:sldMk cId="905193857" sldId="4267"/>
            <ac:grpSpMk id="69" creationId="{1174D5A4-8039-455F-972B-2B04E41E8170}"/>
          </ac:grpSpMkLst>
        </pc:grpChg>
        <pc:grpChg chg="mod">
          <ac:chgData name="Alex Wise" userId="840534413e3eb3ec" providerId="LiveId" clId="{15B2D3AF-F67D-40B5-B068-0B9A9EB6B22E}" dt="2020-12-15T02:32:21.036" v="4284" actId="1076"/>
          <ac:grpSpMkLst>
            <pc:docMk/>
            <pc:sldMk cId="905193857" sldId="4267"/>
            <ac:grpSpMk id="72" creationId="{01895106-E985-4C16-9818-1B4CD3160C5D}"/>
          </ac:grpSpMkLst>
        </pc:grpChg>
        <pc:picChg chg="add mod">
          <ac:chgData name="Alex Wise" userId="840534413e3eb3ec" providerId="LiveId" clId="{15B2D3AF-F67D-40B5-B068-0B9A9EB6B22E}" dt="2020-12-15T02:32:19.005" v="4282" actId="1076"/>
          <ac:picMkLst>
            <pc:docMk/>
            <pc:sldMk cId="905193857" sldId="4267"/>
            <ac:picMk id="49" creationId="{2B241051-0984-4D93-AFC3-8F787B3B6E78}"/>
          </ac:picMkLst>
        </pc:picChg>
        <pc:picChg chg="mod">
          <ac:chgData name="Alex Wise" userId="840534413e3eb3ec" providerId="LiveId" clId="{15B2D3AF-F67D-40B5-B068-0B9A9EB6B22E}" dt="2020-12-15T02:32:21.036" v="4284" actId="1076"/>
          <ac:picMkLst>
            <pc:docMk/>
            <pc:sldMk cId="905193857" sldId="4267"/>
            <ac:picMk id="91" creationId="{2962E3A4-63E2-9347-8FCC-616BA9945B66}"/>
          </ac:picMkLst>
        </pc:picChg>
        <pc:picChg chg="mod">
          <ac:chgData name="Alex Wise" userId="840534413e3eb3ec" providerId="LiveId" clId="{15B2D3AF-F67D-40B5-B068-0B9A9EB6B22E}" dt="2020-12-15T02:32:21.036" v="4284" actId="1076"/>
          <ac:picMkLst>
            <pc:docMk/>
            <pc:sldMk cId="905193857" sldId="4267"/>
            <ac:picMk id="92" creationId="{988F3DF8-175B-434A-812A-DF2E7233D145}"/>
          </ac:picMkLst>
        </pc:picChg>
        <pc:picChg chg="mod">
          <ac:chgData name="Alex Wise" userId="840534413e3eb3ec" providerId="LiveId" clId="{15B2D3AF-F67D-40B5-B068-0B9A9EB6B22E}" dt="2020-12-15T02:32:21.036" v="4284" actId="1076"/>
          <ac:picMkLst>
            <pc:docMk/>
            <pc:sldMk cId="905193857" sldId="4267"/>
            <ac:picMk id="93" creationId="{5BD18441-E35D-724E-B8A3-CBE32850CE8A}"/>
          </ac:picMkLst>
        </pc:pic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84" creationId="{8102CEAC-BEAC-4072-9848-0D2D809D9AAC}"/>
          </ac:cxnSpMkLst>
        </pc:cxn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86" creationId="{A4EDEBF1-F507-4D7D-8728-421264F341D0}"/>
          </ac:cxnSpMkLst>
        </pc:cxn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88" creationId="{2DDF5143-4B5B-F647-8EA3-5B0BC9BA3E25}"/>
          </ac:cxnSpMkLst>
        </pc:cxnChg>
        <pc:cxnChg chg="mod">
          <ac:chgData name="Alex Wise" userId="840534413e3eb3ec" providerId="LiveId" clId="{15B2D3AF-F67D-40B5-B068-0B9A9EB6B22E}" dt="2020-12-15T02:32:21.036" v="4284" actId="1076"/>
          <ac:cxnSpMkLst>
            <pc:docMk/>
            <pc:sldMk cId="905193857" sldId="4267"/>
            <ac:cxnSpMk id="90" creationId="{30B0F651-A1B2-DB4E-93AA-CB8A2EC723D7}"/>
          </ac:cxnSpMkLst>
        </pc:cxnChg>
      </pc:sldChg>
      <pc:sldChg chg="addSp delSp modSp add mod">
        <pc:chgData name="Alex Wise" userId="840534413e3eb3ec" providerId="LiveId" clId="{15B2D3AF-F67D-40B5-B068-0B9A9EB6B22E}" dt="2020-12-31T16:33:33.151" v="6077" actId="20577"/>
        <pc:sldMkLst>
          <pc:docMk/>
          <pc:sldMk cId="3878831401" sldId="4268"/>
        </pc:sldMkLst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9" creationId="{8DC2E9D8-E4E8-4E5A-9B89-EDF959CF2372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10" creationId="{E70057D7-36D8-4535-A7DE-74FB280939E5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11" creationId="{CB4284B1-7E3E-4B9C-8FF4-D9F3A0EA5765}"/>
          </ac:spMkLst>
        </pc:spChg>
        <pc:spChg chg="add del mod">
          <ac:chgData name="Alex Wise" userId="840534413e3eb3ec" providerId="LiveId" clId="{15B2D3AF-F67D-40B5-B068-0B9A9EB6B22E}" dt="2020-12-31T16:25:10.564" v="5671" actId="20577"/>
          <ac:spMkLst>
            <pc:docMk/>
            <pc:sldMk cId="3878831401" sldId="4268"/>
            <ac:spMk id="12" creationId="{6DE043CB-4F8E-4963-BEF3-2D657A863CC8}"/>
          </ac:spMkLst>
        </pc:spChg>
        <pc:spChg chg="del">
          <ac:chgData name="Alex Wise" userId="840534413e3eb3ec" providerId="LiveId" clId="{15B2D3AF-F67D-40B5-B068-0B9A9EB6B22E}" dt="2020-12-31T16:18:02.217" v="5336" actId="478"/>
          <ac:spMkLst>
            <pc:docMk/>
            <pc:sldMk cId="3878831401" sldId="4268"/>
            <ac:spMk id="30" creationId="{5950060C-114D-4FA7-812A-ADEE5279AB75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42" creationId="{DE856358-2055-42F9-AC94-207DDE2F668E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43" creationId="{EDC689BB-4B56-4056-81EA-B92A671C64A5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44" creationId="{52EF25C8-454A-4BBA-9C88-B4DB6620AE1A}"/>
          </ac:spMkLst>
        </pc:spChg>
        <pc:spChg chg="mod">
          <ac:chgData name="Alex Wise" userId="840534413e3eb3ec" providerId="LiveId" clId="{15B2D3AF-F67D-40B5-B068-0B9A9EB6B22E}" dt="2020-12-31T16:19:12.104" v="5367" actId="1076"/>
          <ac:spMkLst>
            <pc:docMk/>
            <pc:sldMk cId="3878831401" sldId="4268"/>
            <ac:spMk id="45" creationId="{DF76DD66-79DB-4076-84D2-A77654B091DE}"/>
          </ac:spMkLst>
        </pc:spChg>
        <pc:spChg chg="mod">
          <ac:chgData name="Alex Wise" userId="840534413e3eb3ec" providerId="LiveId" clId="{15B2D3AF-F67D-40B5-B068-0B9A9EB6B22E}" dt="2020-12-31T16:19:12.104" v="5367" actId="1076"/>
          <ac:spMkLst>
            <pc:docMk/>
            <pc:sldMk cId="3878831401" sldId="4268"/>
            <ac:spMk id="46" creationId="{1850B388-8F64-4C0A-AC83-430B3BE89842}"/>
          </ac:spMkLst>
        </pc:spChg>
        <pc:spChg chg="mod">
          <ac:chgData name="Alex Wise" userId="840534413e3eb3ec" providerId="LiveId" clId="{15B2D3AF-F67D-40B5-B068-0B9A9EB6B22E}" dt="2020-12-31T16:19:12.104" v="5367" actId="1076"/>
          <ac:spMkLst>
            <pc:docMk/>
            <pc:sldMk cId="3878831401" sldId="4268"/>
            <ac:spMk id="47" creationId="{188E624E-D8E3-4201-BEF8-EA15421A14F2}"/>
          </ac:spMkLst>
        </pc:spChg>
        <pc:spChg chg="mod">
          <ac:chgData name="Alex Wise" userId="840534413e3eb3ec" providerId="LiveId" clId="{15B2D3AF-F67D-40B5-B068-0B9A9EB6B22E}" dt="2020-12-31T16:19:12.104" v="5367" actId="1076"/>
          <ac:spMkLst>
            <pc:docMk/>
            <pc:sldMk cId="3878831401" sldId="4268"/>
            <ac:spMk id="48" creationId="{7C95ABD8-F89D-4606-AA73-323FB8010ED5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52" creationId="{B3BA62BB-9507-46E7-8FB0-8678D7A589BA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55" creationId="{E387D60C-3858-40B2-9A7A-A60947BBC8D9}"/>
          </ac:spMkLst>
        </pc:spChg>
        <pc:spChg chg="add del">
          <ac:chgData name="Alex Wise" userId="840534413e3eb3ec" providerId="LiveId" clId="{15B2D3AF-F67D-40B5-B068-0B9A9EB6B22E}" dt="2020-12-31T16:15:49.694" v="5268" actId="478"/>
          <ac:spMkLst>
            <pc:docMk/>
            <pc:sldMk cId="3878831401" sldId="4268"/>
            <ac:spMk id="56" creationId="{F99738AF-E528-45ED-9F23-0A712E5C5D52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58" creationId="{C4F9C671-0398-4227-8E95-832544E3DEB9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62" creationId="{CA324BBB-AD05-4738-84A0-30CEDDBBABD2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63" creationId="{4BAE7C00-FCBD-4DD0-8DBB-4864AFA27895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64" creationId="{2BCE04A0-7DF4-4BA1-85F4-022927053BE7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66" creationId="{F3909EC1-D4CB-4467-8258-FA9E6C991EA6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67" creationId="{714F5EC4-6115-4E06-BB87-194E74BD12A1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68" creationId="{F94EAB15-8857-449F-824A-0FF33858B239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69" creationId="{E9F76BFD-F609-4119-877B-2FF94618B0D1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70" creationId="{EA00F255-1DD4-4FF6-8880-7A3C64858421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71" creationId="{7BBCB076-D184-4CDD-88BF-289D00B73897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73" creationId="{CC7C9495-D1AE-4AC4-9CF7-60B54ABE7615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74" creationId="{9531B67E-23BC-40E7-AFEE-43EB13FF2D3B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75" creationId="{339A0F71-483D-4A50-A6A3-D2FA102074A2}"/>
          </ac:spMkLst>
        </pc:spChg>
        <pc:spChg chg="mod">
          <ac:chgData name="Alex Wise" userId="840534413e3eb3ec" providerId="LiveId" clId="{15B2D3AF-F67D-40B5-B068-0B9A9EB6B22E}" dt="2020-12-31T16:17:43.841" v="5308" actId="571"/>
          <ac:spMkLst>
            <pc:docMk/>
            <pc:sldMk cId="3878831401" sldId="4268"/>
            <ac:spMk id="76" creationId="{7B8C8E5B-65D2-4E85-8169-70E448AF387B}"/>
          </ac:spMkLst>
        </pc:spChg>
        <pc:spChg chg="add mod">
          <ac:chgData name="Alex Wise" userId="840534413e3eb3ec" providerId="LiveId" clId="{15B2D3AF-F67D-40B5-B068-0B9A9EB6B22E}" dt="2020-12-31T16:20:36.854" v="5407" actId="20577"/>
          <ac:spMkLst>
            <pc:docMk/>
            <pc:sldMk cId="3878831401" sldId="4268"/>
            <ac:spMk id="78" creationId="{E7E182D2-EA9B-44FF-AB09-F1B7F0197AB3}"/>
          </ac:spMkLst>
        </pc:spChg>
        <pc:spChg chg="mod">
          <ac:chgData name="Alex Wise" userId="840534413e3eb3ec" providerId="LiveId" clId="{15B2D3AF-F67D-40B5-B068-0B9A9EB6B22E}" dt="2020-12-31T16:19:00.985" v="5364" actId="1076"/>
          <ac:spMkLst>
            <pc:docMk/>
            <pc:sldMk cId="3878831401" sldId="4268"/>
            <ac:spMk id="79" creationId="{F0372D31-0B91-4754-BB47-AFEB5232BC4D}"/>
          </ac:spMkLst>
        </pc:spChg>
        <pc:spChg chg="add del mod">
          <ac:chgData name="Alex Wise" userId="840534413e3eb3ec" providerId="LiveId" clId="{15B2D3AF-F67D-40B5-B068-0B9A9EB6B22E}" dt="2020-12-31T16:21:38.891" v="5419" actId="478"/>
          <ac:spMkLst>
            <pc:docMk/>
            <pc:sldMk cId="3878831401" sldId="4268"/>
            <ac:spMk id="81" creationId="{3BAEF0FF-BD12-49E0-BA12-77361573028D}"/>
          </ac:spMkLst>
        </pc:spChg>
        <pc:spChg chg="add del mod">
          <ac:chgData name="Alex Wise" userId="840534413e3eb3ec" providerId="LiveId" clId="{15B2D3AF-F67D-40B5-B068-0B9A9EB6B22E}" dt="2020-12-31T16:28:06.985" v="5720" actId="478"/>
          <ac:spMkLst>
            <pc:docMk/>
            <pc:sldMk cId="3878831401" sldId="4268"/>
            <ac:spMk id="83" creationId="{403CA2DE-D962-4B15-9ED9-998AFF912605}"/>
          </ac:spMkLst>
        </pc:spChg>
        <pc:spChg chg="mod">
          <ac:chgData name="Alex Wise" userId="840534413e3eb3ec" providerId="LiveId" clId="{15B2D3AF-F67D-40B5-B068-0B9A9EB6B22E}" dt="2020-12-31T16:19:43.915" v="5372" actId="1076"/>
          <ac:spMkLst>
            <pc:docMk/>
            <pc:sldMk cId="3878831401" sldId="4268"/>
            <ac:spMk id="87" creationId="{8569E110-1ED0-6347-BCB5-C8EA29133B5D}"/>
          </ac:spMkLst>
        </pc:spChg>
        <pc:spChg chg="mod">
          <ac:chgData name="Alex Wise" userId="840534413e3eb3ec" providerId="LiveId" clId="{15B2D3AF-F67D-40B5-B068-0B9A9EB6B22E}" dt="2020-12-31T16:19:35.080" v="5370" actId="403"/>
          <ac:spMkLst>
            <pc:docMk/>
            <pc:sldMk cId="3878831401" sldId="4268"/>
            <ac:spMk id="89" creationId="{122216B3-802F-8940-A495-56AD4E0044B9}"/>
          </ac:spMkLst>
        </pc:spChg>
        <pc:spChg chg="add mod">
          <ac:chgData name="Alex Wise" userId="840534413e3eb3ec" providerId="LiveId" clId="{15B2D3AF-F67D-40B5-B068-0B9A9EB6B22E}" dt="2020-12-31T16:33:33.151" v="6077" actId="20577"/>
          <ac:spMkLst>
            <pc:docMk/>
            <pc:sldMk cId="3878831401" sldId="4268"/>
            <ac:spMk id="95" creationId="{E31583F5-A5AB-43B7-BDA5-88FD4D752420}"/>
          </ac:spMkLst>
        </pc:spChg>
        <pc:spChg chg="mod">
          <ac:chgData name="Alex Wise" userId="840534413e3eb3ec" providerId="LiveId" clId="{15B2D3AF-F67D-40B5-B068-0B9A9EB6B22E}" dt="2020-12-31T16:18:43.599" v="5360" actId="1076"/>
          <ac:spMkLst>
            <pc:docMk/>
            <pc:sldMk cId="3878831401" sldId="4268"/>
            <ac:spMk id="96" creationId="{8AC94206-1B43-754F-B4B7-789607FE16C3}"/>
          </ac:spMkLst>
        </pc:spChg>
        <pc:spChg chg="mod">
          <ac:chgData name="Alex Wise" userId="840534413e3eb3ec" providerId="LiveId" clId="{15B2D3AF-F67D-40B5-B068-0B9A9EB6B22E}" dt="2020-12-31T16:19:16.516" v="5368" actId="1076"/>
          <ac:spMkLst>
            <pc:docMk/>
            <pc:sldMk cId="3878831401" sldId="4268"/>
            <ac:spMk id="97" creationId="{79A2BF5E-71F4-9542-A1AB-D32EF4582A6B}"/>
          </ac:spMkLst>
        </pc:spChg>
        <pc:spChg chg="mod">
          <ac:chgData name="Alex Wise" userId="840534413e3eb3ec" providerId="LiveId" clId="{15B2D3AF-F67D-40B5-B068-0B9A9EB6B22E}" dt="2020-12-31T16:18:46.375" v="5361" actId="1076"/>
          <ac:spMkLst>
            <pc:docMk/>
            <pc:sldMk cId="3878831401" sldId="4268"/>
            <ac:spMk id="98" creationId="{7AAA3941-EE5D-BA4C-9737-F19A1EE7A22D}"/>
          </ac:spMkLst>
        </pc:spChg>
        <pc:grpChg chg="mod">
          <ac:chgData name="Alex Wise" userId="840534413e3eb3ec" providerId="LiveId" clId="{15B2D3AF-F67D-40B5-B068-0B9A9EB6B22E}" dt="2020-12-31T16:18:43.599" v="5360" actId="1076"/>
          <ac:grpSpMkLst>
            <pc:docMk/>
            <pc:sldMk cId="3878831401" sldId="4268"/>
            <ac:grpSpMk id="2" creationId="{F52D5254-5C24-E343-9F11-E5AA47B5C18F}"/>
          </ac:grpSpMkLst>
        </pc:grpChg>
        <pc:grpChg chg="add mod">
          <ac:chgData name="Alex Wise" userId="840534413e3eb3ec" providerId="LiveId" clId="{15B2D3AF-F67D-40B5-B068-0B9A9EB6B22E}" dt="2020-12-31T16:17:43.841" v="5308" actId="571"/>
          <ac:grpSpMkLst>
            <pc:docMk/>
            <pc:sldMk cId="3878831401" sldId="4268"/>
            <ac:grpSpMk id="41" creationId="{001048B1-09B0-49DA-AD63-77EEE3E86EA3}"/>
          </ac:grpSpMkLst>
        </pc:grpChg>
        <pc:grpChg chg="mod">
          <ac:chgData name="Alex Wise" userId="840534413e3eb3ec" providerId="LiveId" clId="{15B2D3AF-F67D-40B5-B068-0B9A9EB6B22E}" dt="2020-12-31T16:17:43.841" v="5308" actId="571"/>
          <ac:grpSpMkLst>
            <pc:docMk/>
            <pc:sldMk cId="3878831401" sldId="4268"/>
            <ac:grpSpMk id="50" creationId="{EEE9AEBB-12E9-431E-8D41-47C74420619C}"/>
          </ac:grpSpMkLst>
        </pc:grpChg>
        <pc:grpChg chg="mod">
          <ac:chgData name="Alex Wise" userId="840534413e3eb3ec" providerId="LiveId" clId="{15B2D3AF-F67D-40B5-B068-0B9A9EB6B22E}" dt="2020-12-31T16:17:43.841" v="5308" actId="571"/>
          <ac:grpSpMkLst>
            <pc:docMk/>
            <pc:sldMk cId="3878831401" sldId="4268"/>
            <ac:grpSpMk id="51" creationId="{7FAB3D42-4408-4A11-A6C0-FECFE351F439}"/>
          </ac:grpSpMkLst>
        </pc:grpChg>
        <pc:grpChg chg="mod">
          <ac:chgData name="Alex Wise" userId="840534413e3eb3ec" providerId="LiveId" clId="{15B2D3AF-F67D-40B5-B068-0B9A9EB6B22E}" dt="2020-12-31T16:18:43.599" v="5360" actId="1076"/>
          <ac:grpSpMkLst>
            <pc:docMk/>
            <pc:sldMk cId="3878831401" sldId="4268"/>
            <ac:grpSpMk id="65" creationId="{A16D8769-A172-422C-AAC2-CEA5986E45F3}"/>
          </ac:grpSpMkLst>
        </pc:grpChg>
        <pc:grpChg chg="mod">
          <ac:chgData name="Alex Wise" userId="840534413e3eb3ec" providerId="LiveId" clId="{15B2D3AF-F67D-40B5-B068-0B9A9EB6B22E}" dt="2020-12-31T16:18:43.599" v="5360" actId="1076"/>
          <ac:grpSpMkLst>
            <pc:docMk/>
            <pc:sldMk cId="3878831401" sldId="4268"/>
            <ac:grpSpMk id="72" creationId="{01895106-E985-4C16-9818-1B4CD3160C5D}"/>
          </ac:grpSpMkLst>
        </pc:grpChg>
        <pc:graphicFrameChg chg="add del mod modGraphic">
          <ac:chgData name="Alex Wise" userId="840534413e3eb3ec" providerId="LiveId" clId="{15B2D3AF-F67D-40B5-B068-0B9A9EB6B22E}" dt="2020-12-31T16:29:52.754" v="5839" actId="478"/>
          <ac:graphicFrameMkLst>
            <pc:docMk/>
            <pc:sldMk cId="3878831401" sldId="4268"/>
            <ac:graphicFrameMk id="15" creationId="{61D165D5-6900-4A60-AF08-1287A78CDD62}"/>
          </ac:graphicFrameMkLst>
        </pc:graphicFrameChg>
        <pc:graphicFrameChg chg="add mod modGraphic">
          <ac:chgData name="Alex Wise" userId="840534413e3eb3ec" providerId="LiveId" clId="{15B2D3AF-F67D-40B5-B068-0B9A9EB6B22E}" dt="2020-12-31T16:32:58.893" v="5984" actId="113"/>
          <ac:graphicFrameMkLst>
            <pc:docMk/>
            <pc:sldMk cId="3878831401" sldId="4268"/>
            <ac:graphicFrameMk id="16" creationId="{30F5C38C-E26C-4DDB-92FF-9BA08E870FFA}"/>
          </ac:graphicFrameMkLst>
        </pc:graphicFrameChg>
        <pc:picChg chg="mod">
          <ac:chgData name="Alex Wise" userId="840534413e3eb3ec" providerId="LiveId" clId="{15B2D3AF-F67D-40B5-B068-0B9A9EB6B22E}" dt="2020-12-31T16:18:52.383" v="5362" actId="1076"/>
          <ac:picMkLst>
            <pc:docMk/>
            <pc:sldMk cId="3878831401" sldId="4268"/>
            <ac:picMk id="49" creationId="{2B241051-0984-4D93-AFC3-8F787B3B6E78}"/>
          </ac:picMkLst>
        </pc:picChg>
        <pc:picChg chg="mod">
          <ac:chgData name="Alex Wise" userId="840534413e3eb3ec" providerId="LiveId" clId="{15B2D3AF-F67D-40B5-B068-0B9A9EB6B22E}" dt="2020-12-31T16:17:43.841" v="5308" actId="571"/>
          <ac:picMkLst>
            <pc:docMk/>
            <pc:sldMk cId="3878831401" sldId="4268"/>
            <ac:picMk id="59" creationId="{A194CD4C-F8A7-46C1-98FB-06EC73F479CF}"/>
          </ac:picMkLst>
        </pc:picChg>
        <pc:picChg chg="mod">
          <ac:chgData name="Alex Wise" userId="840534413e3eb3ec" providerId="LiveId" clId="{15B2D3AF-F67D-40B5-B068-0B9A9EB6B22E}" dt="2020-12-31T16:17:43.841" v="5308" actId="571"/>
          <ac:picMkLst>
            <pc:docMk/>
            <pc:sldMk cId="3878831401" sldId="4268"/>
            <ac:picMk id="60" creationId="{63B259D4-1BF1-4FC3-ADAE-4009E72B0B5E}"/>
          </ac:picMkLst>
        </pc:picChg>
        <pc:picChg chg="mod">
          <ac:chgData name="Alex Wise" userId="840534413e3eb3ec" providerId="LiveId" clId="{15B2D3AF-F67D-40B5-B068-0B9A9EB6B22E}" dt="2020-12-31T16:17:43.841" v="5308" actId="571"/>
          <ac:picMkLst>
            <pc:docMk/>
            <pc:sldMk cId="3878831401" sldId="4268"/>
            <ac:picMk id="61" creationId="{EE7A6A9F-2D94-4053-87A8-CFEF8749156D}"/>
          </ac:picMkLst>
        </pc:picChg>
        <pc:picChg chg="add mod">
          <ac:chgData name="Alex Wise" userId="840534413e3eb3ec" providerId="LiveId" clId="{15B2D3AF-F67D-40B5-B068-0B9A9EB6B22E}" dt="2020-12-31T16:17:43.841" v="5308" actId="571"/>
          <ac:picMkLst>
            <pc:docMk/>
            <pc:sldMk cId="3878831401" sldId="4268"/>
            <ac:picMk id="77" creationId="{BD45468E-0927-4C12-879F-292E10175FE5}"/>
          </ac:picMkLst>
        </pc:picChg>
        <pc:picChg chg="mod">
          <ac:chgData name="Alex Wise" userId="840534413e3eb3ec" providerId="LiveId" clId="{15B2D3AF-F67D-40B5-B068-0B9A9EB6B22E}" dt="2020-12-31T16:18:43.599" v="5360" actId="1076"/>
          <ac:picMkLst>
            <pc:docMk/>
            <pc:sldMk cId="3878831401" sldId="4268"/>
            <ac:picMk id="91" creationId="{2962E3A4-63E2-9347-8FCC-616BA9945B66}"/>
          </ac:picMkLst>
        </pc:picChg>
        <pc:picChg chg="mod">
          <ac:chgData name="Alex Wise" userId="840534413e3eb3ec" providerId="LiveId" clId="{15B2D3AF-F67D-40B5-B068-0B9A9EB6B22E}" dt="2020-12-31T16:18:43.599" v="5360" actId="1076"/>
          <ac:picMkLst>
            <pc:docMk/>
            <pc:sldMk cId="3878831401" sldId="4268"/>
            <ac:picMk id="92" creationId="{988F3DF8-175B-434A-812A-DF2E7233D145}"/>
          </ac:picMkLst>
        </pc:picChg>
        <pc:picChg chg="mod">
          <ac:chgData name="Alex Wise" userId="840534413e3eb3ec" providerId="LiveId" clId="{15B2D3AF-F67D-40B5-B068-0B9A9EB6B22E}" dt="2020-12-31T16:18:43.599" v="5360" actId="1076"/>
          <ac:picMkLst>
            <pc:docMk/>
            <pc:sldMk cId="3878831401" sldId="4268"/>
            <ac:picMk id="93" creationId="{5BD18441-E35D-724E-B8A3-CBE32850CE8A}"/>
          </ac:picMkLst>
        </pc:picChg>
        <pc:cxnChg chg="add del mod">
          <ac:chgData name="Alex Wise" userId="840534413e3eb3ec" providerId="LiveId" clId="{15B2D3AF-F67D-40B5-B068-0B9A9EB6B22E}" dt="2020-12-31T16:14:46.406" v="5263" actId="478"/>
          <ac:cxnSpMkLst>
            <pc:docMk/>
            <pc:sldMk cId="3878831401" sldId="4268"/>
            <ac:cxnSpMk id="38" creationId="{E2563A76-92D5-4CDF-BA91-E8BF71D60B32}"/>
          </ac:cxnSpMkLst>
        </pc:cxnChg>
        <pc:cxnChg chg="add mod">
          <ac:chgData name="Alex Wise" userId="840534413e3eb3ec" providerId="LiveId" clId="{15B2D3AF-F67D-40B5-B068-0B9A9EB6B22E}" dt="2020-12-31T16:17:26.020" v="5306" actId="1076"/>
          <ac:cxnSpMkLst>
            <pc:docMk/>
            <pc:sldMk cId="3878831401" sldId="4268"/>
            <ac:cxnSpMk id="40" creationId="{935F82B1-D1D5-4568-8109-8BB8D9E9EF5B}"/>
          </ac:cxnSpMkLst>
        </pc:cxnChg>
        <pc:cxnChg chg="mod">
          <ac:chgData name="Alex Wise" userId="840534413e3eb3ec" providerId="LiveId" clId="{15B2D3AF-F67D-40B5-B068-0B9A9EB6B22E}" dt="2020-12-31T16:17:43.841" v="5308" actId="571"/>
          <ac:cxnSpMkLst>
            <pc:docMk/>
            <pc:sldMk cId="3878831401" sldId="4268"/>
            <ac:cxnSpMk id="53" creationId="{708205B7-5864-4384-96B7-FF413BE38AA1}"/>
          </ac:cxnSpMkLst>
        </pc:cxnChg>
        <pc:cxnChg chg="mod">
          <ac:chgData name="Alex Wise" userId="840534413e3eb3ec" providerId="LiveId" clId="{15B2D3AF-F67D-40B5-B068-0B9A9EB6B22E}" dt="2020-12-31T16:17:43.841" v="5308" actId="571"/>
          <ac:cxnSpMkLst>
            <pc:docMk/>
            <pc:sldMk cId="3878831401" sldId="4268"/>
            <ac:cxnSpMk id="54" creationId="{C619446F-E72D-4E75-83F1-E188B9F7FB2F}"/>
          </ac:cxnSpMkLst>
        </pc:cxnChg>
        <pc:cxnChg chg="mod">
          <ac:chgData name="Alex Wise" userId="840534413e3eb3ec" providerId="LiveId" clId="{15B2D3AF-F67D-40B5-B068-0B9A9EB6B22E}" dt="2020-12-31T16:17:43.841" v="5308" actId="571"/>
          <ac:cxnSpMkLst>
            <pc:docMk/>
            <pc:sldMk cId="3878831401" sldId="4268"/>
            <ac:cxnSpMk id="57" creationId="{0ADE94F6-5841-4CFE-BE0C-41F18231CDE6}"/>
          </ac:cxnSpMkLst>
        </pc:cxnChg>
        <pc:cxnChg chg="add mod">
          <ac:chgData name="Alex Wise" userId="840534413e3eb3ec" providerId="LiveId" clId="{15B2D3AF-F67D-40B5-B068-0B9A9EB6B22E}" dt="2020-12-31T16:20:29.338" v="5374" actId="1076"/>
          <ac:cxnSpMkLst>
            <pc:docMk/>
            <pc:sldMk cId="3878831401" sldId="4268"/>
            <ac:cxnSpMk id="80" creationId="{243FF219-E798-4B80-A17A-73B361DE4A97}"/>
          </ac:cxnSpMkLst>
        </pc:cxnChg>
        <pc:cxnChg chg="add del mod">
          <ac:chgData name="Alex Wise" userId="840534413e3eb3ec" providerId="LiveId" clId="{15B2D3AF-F67D-40B5-B068-0B9A9EB6B22E}" dt="2020-12-31T16:28:09.873" v="5722" actId="478"/>
          <ac:cxnSpMkLst>
            <pc:docMk/>
            <pc:sldMk cId="3878831401" sldId="4268"/>
            <ac:cxnSpMk id="82" creationId="{4D0FC30A-A8EE-4429-B092-55DAD9B3E77D}"/>
          </ac:cxnSpMkLst>
        </pc:cxnChg>
        <pc:cxnChg chg="mod">
          <ac:chgData name="Alex Wise" userId="840534413e3eb3ec" providerId="LiveId" clId="{15B2D3AF-F67D-40B5-B068-0B9A9EB6B22E}" dt="2020-12-31T16:18:56.811" v="5363" actId="14100"/>
          <ac:cxnSpMkLst>
            <pc:docMk/>
            <pc:sldMk cId="3878831401" sldId="4268"/>
            <ac:cxnSpMk id="84" creationId="{8102CEAC-BEAC-4072-9848-0D2D809D9AAC}"/>
          </ac:cxnSpMkLst>
        </pc:cxnChg>
        <pc:cxnChg chg="mod">
          <ac:chgData name="Alex Wise" userId="840534413e3eb3ec" providerId="LiveId" clId="{15B2D3AF-F67D-40B5-B068-0B9A9EB6B22E}" dt="2020-12-31T16:19:20.429" v="5369" actId="14100"/>
          <ac:cxnSpMkLst>
            <pc:docMk/>
            <pc:sldMk cId="3878831401" sldId="4268"/>
            <ac:cxnSpMk id="86" creationId="{A4EDEBF1-F507-4D7D-8728-421264F341D0}"/>
          </ac:cxnSpMkLst>
        </pc:cxnChg>
        <pc:cxnChg chg="mod">
          <ac:chgData name="Alex Wise" userId="840534413e3eb3ec" providerId="LiveId" clId="{15B2D3AF-F67D-40B5-B068-0B9A9EB6B22E}" dt="2020-12-31T16:18:43.599" v="5360" actId="1076"/>
          <ac:cxnSpMkLst>
            <pc:docMk/>
            <pc:sldMk cId="3878831401" sldId="4268"/>
            <ac:cxnSpMk id="88" creationId="{2DDF5143-4B5B-F647-8EA3-5B0BC9BA3E25}"/>
          </ac:cxnSpMkLst>
        </pc:cxnChg>
        <pc:cxnChg chg="del">
          <ac:chgData name="Alex Wise" userId="840534413e3eb3ec" providerId="LiveId" clId="{15B2D3AF-F67D-40B5-B068-0B9A9EB6B22E}" dt="2020-12-31T16:14:34.645" v="5258" actId="21"/>
          <ac:cxnSpMkLst>
            <pc:docMk/>
            <pc:sldMk cId="3878831401" sldId="4268"/>
            <ac:cxnSpMk id="90" creationId="{30B0F651-A1B2-DB4E-93AA-CB8A2EC723D7}"/>
          </ac:cxnSpMkLst>
        </pc:cxnChg>
        <pc:cxnChg chg="add del mod">
          <ac:chgData name="Alex Wise" userId="840534413e3eb3ec" providerId="LiveId" clId="{15B2D3AF-F67D-40B5-B068-0B9A9EB6B22E}" dt="2020-12-31T16:28:08.895" v="5721" actId="478"/>
          <ac:cxnSpMkLst>
            <pc:docMk/>
            <pc:sldMk cId="3878831401" sldId="4268"/>
            <ac:cxnSpMk id="94" creationId="{CBBD48E0-5F8A-44F0-823D-D73945F1E213}"/>
          </ac:cxnSpMkLst>
        </pc:cxnChg>
      </pc:sldChg>
      <pc:sldMasterChg chg="modSldLayout">
        <pc:chgData name="Alex Wise" userId="840534413e3eb3ec" providerId="LiveId" clId="{15B2D3AF-F67D-40B5-B068-0B9A9EB6B22E}" dt="2020-12-15T00:30:37.775" v="372" actId="478"/>
        <pc:sldMasterMkLst>
          <pc:docMk/>
          <pc:sldMasterMk cId="4220988333" sldId="2147483691"/>
        </pc:sldMasterMkLst>
        <pc:sldLayoutChg chg="delSp mod">
          <pc:chgData name="Alex Wise" userId="840534413e3eb3ec" providerId="LiveId" clId="{15B2D3AF-F67D-40B5-B068-0B9A9EB6B22E}" dt="2020-12-15T00:25:23.757" v="1" actId="478"/>
          <pc:sldLayoutMkLst>
            <pc:docMk/>
            <pc:sldMasterMk cId="4220988333" sldId="2147483691"/>
            <pc:sldLayoutMk cId="0" sldId="2147483660"/>
          </pc:sldLayoutMkLst>
          <pc:picChg chg="del">
            <ac:chgData name="Alex Wise" userId="840534413e3eb3ec" providerId="LiveId" clId="{15B2D3AF-F67D-40B5-B068-0B9A9EB6B22E}" dt="2020-12-15T00:25:23.757" v="1" actId="478"/>
            <ac:picMkLst>
              <pc:docMk/>
              <pc:sldMasterMk cId="4220988333" sldId="2147483691"/>
              <pc:sldLayoutMk cId="0" sldId="2147483660"/>
              <ac:picMk id="7" creationId="{00000000-0000-0000-0000-000000000000}"/>
            </ac:picMkLst>
          </pc:picChg>
        </pc:sldLayoutChg>
        <pc:sldLayoutChg chg="delSp mod">
          <pc:chgData name="Alex Wise" userId="840534413e3eb3ec" providerId="LiveId" clId="{15B2D3AF-F67D-40B5-B068-0B9A9EB6B22E}" dt="2020-12-15T00:30:37.775" v="372" actId="478"/>
          <pc:sldLayoutMkLst>
            <pc:docMk/>
            <pc:sldMasterMk cId="4220988333" sldId="2147483691"/>
            <pc:sldLayoutMk cId="3851190012" sldId="2147483725"/>
          </pc:sldLayoutMkLst>
          <pc:spChg chg="del">
            <ac:chgData name="Alex Wise" userId="840534413e3eb3ec" providerId="LiveId" clId="{15B2D3AF-F67D-40B5-B068-0B9A9EB6B22E}" dt="2020-12-15T00:30:37.775" v="372" actId="478"/>
            <ac:spMkLst>
              <pc:docMk/>
              <pc:sldMasterMk cId="4220988333" sldId="2147483691"/>
              <pc:sldLayoutMk cId="3851190012" sldId="2147483725"/>
              <ac:spMk id="8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r">
              <a:defRPr sz="1200"/>
            </a:lvl1pPr>
          </a:lstStyle>
          <a:p>
            <a:fld id="{A923D47E-F7A6-BB43-9EEA-94C869CE6891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12/31/2020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  <a:prstGeom prst="rect">
            <a:avLst/>
          </a:prstGeom>
        </p:spPr>
        <p:txBody>
          <a:bodyPr vert="horz" lIns="93153" tIns="46574" rIns="93153" bIns="46574" rtlCol="0"/>
          <a:lstStyle>
            <a:lvl1pPr algn="r">
              <a:defRPr sz="1200"/>
            </a:lvl1pPr>
          </a:lstStyle>
          <a:p>
            <a:fld id="{EE032E31-25FA-5843-9B22-66794CE8E08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3" tIns="46574" rIns="93153" bIns="4657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7"/>
          </a:xfrm>
          <a:prstGeom prst="rect">
            <a:avLst/>
          </a:prstGeom>
        </p:spPr>
        <p:txBody>
          <a:bodyPr vert="horz" lIns="93153" tIns="46574" rIns="93153" bIns="4657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748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45AA4F4-DD3D-664B-BEA2-B99741AE69BB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380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22CD1C4-58DB-A341-8556-C0A93FCBC9F6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850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854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A992D72-E892-5E41-B410-B3C651E71A1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765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EAD32D4-82EF-A046-AF16-2F236E72C214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1670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6002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6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263344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8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459635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hysician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621"/>
            <a:ext cx="12191996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241324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enter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328557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328810" y="5080578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2328972" y="4674177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entered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131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312989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2313151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4" name="Graphic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DC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DC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103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Hospital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166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Co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10156327" y="846877"/>
            <a:ext cx="167781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55" r="3100"/>
          <a:stretch/>
        </p:blipFill>
        <p:spPr>
          <a:xfrm>
            <a:off x="10156327" y="327876"/>
            <a:ext cx="1677819" cy="279837"/>
          </a:xfrm>
          <a:prstGeom prst="rect">
            <a:avLst/>
          </a:prstGeom>
        </p:spPr>
      </p:pic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13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6" name="Cobranding Placeholder"/>
          <p:cNvSpPr>
            <a:spLocks noGrp="1"/>
          </p:cNvSpPr>
          <p:nvPr>
            <p:ph type="pic" sz="quarter" idx="15" hasCustomPrompt="1"/>
          </p:nvPr>
        </p:nvSpPr>
        <p:spPr>
          <a:xfrm>
            <a:off x="10156825" y="1085850"/>
            <a:ext cx="1674813" cy="665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Click to insert cobranding logo. Adjust logo to be proportional to McKesson logo</a:t>
            </a: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Physician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385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 Hom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6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034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15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4758523-43A6-402F-A3DC-7CE338EE310F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7188" y="5761038"/>
            <a:ext cx="5915025" cy="390525"/>
          </a:xfrm>
          <a:prstGeom prst="rect">
            <a:avLst/>
          </a:prstGeom>
        </p:spPr>
        <p:txBody>
          <a:bodyPr tIns="91440">
            <a:no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Optional footnote content goes here. To place footnotes on additional slides, copy and paste this footnote onto those slides.</a:t>
            </a:r>
          </a:p>
        </p:txBody>
      </p:sp>
    </p:spTree>
    <p:extLst>
      <p:ext uri="{BB962C8B-B14F-4D97-AF65-F5344CB8AC3E}">
        <p14:creationId xmlns:p14="http://schemas.microsoft.com/office/powerpoint/2010/main" val="90240793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28929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46348-2307-45AF-A1F8-7EFE8B490865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80150" y="1795463"/>
            <a:ext cx="5561013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5559552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960136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C401F2-7845-4AD0-90F8-BCAC2A7B5A6C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280150" y="1792224"/>
            <a:ext cx="5561013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57188" y="1792224"/>
            <a:ext cx="5559552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15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ED436-3BA4-4B71-8401-12966958C666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5559552" cy="3234522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7188" y="1792224"/>
            <a:ext cx="555955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272213" y="1792224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6282055" y="2527300"/>
            <a:ext cx="5559425" cy="3233738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75843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97C58-47A1-4044-B069-24C083D6A2AB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6282055" y="2527300"/>
            <a:ext cx="5559425" cy="3233738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272213" y="1792224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5559552" cy="3234522"/>
          </a:xfrm>
          <a:prstGeom prst="rect">
            <a:avLst/>
          </a:prstGeom>
        </p:spPr>
        <p:txBody>
          <a:bodyPr tIns="182880"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903" y="1792288"/>
            <a:ext cx="5557837" cy="698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6"/>
          </p:nvPr>
        </p:nvSpPr>
        <p:spPr>
          <a:xfrm>
            <a:off x="6327144" y="6344338"/>
            <a:ext cx="4114800" cy="182880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>
          <a:xfrm>
            <a:off x="5669042" y="6344338"/>
            <a:ext cx="627380" cy="182880"/>
          </a:xfrm>
        </p:spPr>
        <p:txBody>
          <a:bodyPr/>
          <a:lstStyle/>
          <a:p>
            <a:fld id="{571B3BDC-5651-480D-840C-DBBA93DFB61B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7"/>
          </p:nvPr>
        </p:nvSpPr>
        <p:spPr>
          <a:xfrm>
            <a:off x="5283200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9149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283200" y="1795463"/>
            <a:ext cx="6557963" cy="3966359"/>
          </a:xfrm>
          <a:prstGeom prst="rect">
            <a:avLst/>
          </a:prstGeom>
        </p:spPr>
        <p:txBody>
          <a:bodyPr/>
          <a:lstStyle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3200" y="346074"/>
            <a:ext cx="6558280" cy="10841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79644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sp>
        <p:nvSpPr>
          <p:cNvPr id="11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639" y="6307997"/>
            <a:ext cx="1398205" cy="21885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58444" y="6344338"/>
            <a:ext cx="355119" cy="182880"/>
          </a:xfrm>
        </p:spPr>
        <p:txBody>
          <a:bodyPr/>
          <a:lstStyle>
            <a:lvl1pPr algn="r">
              <a:defRPr/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889635" y="6344338"/>
            <a:ext cx="627380" cy="182880"/>
          </a:xfrm>
        </p:spPr>
        <p:txBody>
          <a:bodyPr/>
          <a:lstStyle>
            <a:lvl1pPr algn="r">
              <a:defRPr/>
            </a:lvl1pPr>
          </a:lstStyle>
          <a:p>
            <a:fld id="{9A41F2CB-A298-4AD9-87F9-33882F77447F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514900" y="6344338"/>
            <a:ext cx="2334408" cy="182880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268682" y="0"/>
            <a:ext cx="49149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5600" y="1795463"/>
            <a:ext cx="6557963" cy="3966359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346074"/>
            <a:ext cx="6558280" cy="11144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6985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78F1D70-C305-42F7-B515-B32091896891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24" hasCustomPrompt="1"/>
          </p:nvPr>
        </p:nvSpPr>
        <p:spPr>
          <a:xfrm>
            <a:off x="6271157" y="3611880"/>
            <a:ext cx="5559425" cy="2148840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ubheader 2"/>
          <p:cNvSpPr>
            <a:spLocks noGrp="1"/>
          </p:cNvSpPr>
          <p:nvPr>
            <p:ph type="body" sz="quarter" idx="23"/>
          </p:nvPr>
        </p:nvSpPr>
        <p:spPr>
          <a:xfrm>
            <a:off x="6271093" y="2907872"/>
            <a:ext cx="5559552" cy="698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092952" y="-1"/>
            <a:ext cx="6099048" cy="25197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3615480"/>
            <a:ext cx="5559552" cy="2148840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1"/>
          <p:cNvSpPr>
            <a:spLocks noGrp="1"/>
          </p:cNvSpPr>
          <p:nvPr>
            <p:ph type="body" sz="quarter" idx="16" hasCustomPrompt="1"/>
          </p:nvPr>
        </p:nvSpPr>
        <p:spPr>
          <a:xfrm>
            <a:off x="357188" y="2907872"/>
            <a:ext cx="555955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1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mage Comparison Slide Title Georgia Bold 22pt. Single Spaced</a:t>
            </a:r>
          </a:p>
        </p:txBody>
      </p:sp>
      <p:sp>
        <p:nvSpPr>
          <p:cNvPr id="11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6095992" cy="25197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444630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er Placeholder 17"/>
          <p:cNvSpPr>
            <a:spLocks noGrp="1"/>
          </p:cNvSpPr>
          <p:nvPr>
            <p:ph type="ftr" sz="quarter" idx="21"/>
          </p:nvPr>
        </p:nvSpPr>
        <p:spPr>
          <a:xfrm>
            <a:off x="5339139" y="6344338"/>
            <a:ext cx="4114800" cy="182880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20"/>
          </p:nvPr>
        </p:nvSpPr>
        <p:spPr>
          <a:xfrm>
            <a:off x="4650314" y="6344338"/>
            <a:ext cx="627380" cy="182880"/>
          </a:xfrm>
        </p:spPr>
        <p:txBody>
          <a:bodyPr/>
          <a:lstStyle/>
          <a:p>
            <a:fld id="{21AD4FCA-79B4-48A8-B743-2D75617AE6A6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22"/>
          </p:nvPr>
        </p:nvSpPr>
        <p:spPr>
          <a:xfrm>
            <a:off x="4295195" y="6344338"/>
            <a:ext cx="355119" cy="182880"/>
          </a:xfrm>
        </p:spPr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3"/>
          </p:nvPr>
        </p:nvSpPr>
        <p:spPr>
          <a:xfrm>
            <a:off x="8248072" y="1795463"/>
            <a:ext cx="3584448" cy="3965575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"/>
          <p:cNvSpPr>
            <a:spLocks noGrp="1"/>
          </p:cNvSpPr>
          <p:nvPr>
            <p:ph sz="quarter" idx="13"/>
          </p:nvPr>
        </p:nvSpPr>
        <p:spPr>
          <a:xfrm>
            <a:off x="4300701" y="1795463"/>
            <a:ext cx="3588930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"/>
            <a:ext cx="3949864" cy="685800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4319751" y="895350"/>
            <a:ext cx="752141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4319751" y="346075"/>
            <a:ext cx="75217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3849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71CC0-C7EF-4078-AE43-898DC4037C85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250131" y="2524909"/>
            <a:ext cx="3594100" cy="3236913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ubhea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250131" y="1803400"/>
            <a:ext cx="3594100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4303713" y="2524846"/>
            <a:ext cx="3594100" cy="3236976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03787" y="1803400"/>
            <a:ext cx="3593592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3593592" cy="3234522"/>
          </a:xfrm>
          <a:prstGeom prst="rect">
            <a:avLst/>
          </a:prstGeom>
        </p:spPr>
        <p:txBody>
          <a:bodyPr lIns="0" tIns="182880" r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ubheader 1"/>
          <p:cNvSpPr>
            <a:spLocks noGrp="1"/>
          </p:cNvSpPr>
          <p:nvPr>
            <p:ph type="body" sz="quarter" idx="21" hasCustomPrompt="1"/>
          </p:nvPr>
        </p:nvSpPr>
        <p:spPr>
          <a:xfrm>
            <a:off x="357188" y="1803400"/>
            <a:ext cx="3594100" cy="6985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lang="en-US" sz="2400" i="1" kern="120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149172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23A02-5730-4AEC-8419-BDFDB637A9BF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250131" y="2524909"/>
            <a:ext cx="3594100" cy="3236913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Subheader 3"/>
          <p:cNvSpPr>
            <a:spLocks noGrp="1"/>
          </p:cNvSpPr>
          <p:nvPr>
            <p:ph type="body" sz="quarter" idx="22"/>
          </p:nvPr>
        </p:nvSpPr>
        <p:spPr>
          <a:xfrm>
            <a:off x="8250131" y="1803400"/>
            <a:ext cx="359410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4303713" y="2524846"/>
            <a:ext cx="3594100" cy="3236976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303787" y="1803400"/>
            <a:ext cx="3593592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3593592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ubheader 1"/>
          <p:cNvSpPr>
            <a:spLocks noGrp="1"/>
          </p:cNvSpPr>
          <p:nvPr>
            <p:ph type="body" sz="quarter" idx="21"/>
          </p:nvPr>
        </p:nvSpPr>
        <p:spPr>
          <a:xfrm>
            <a:off x="357188" y="1803400"/>
            <a:ext cx="359410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400" i="1" kern="1200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hree Column with Sub-headers</a:t>
            </a: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78994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229600" y="355600"/>
            <a:ext cx="3619500" cy="5041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</p:spTree>
    <p:extLst>
      <p:ext uri="{BB962C8B-B14F-4D97-AF65-F5344CB8AC3E}">
        <p14:creationId xmlns:p14="http://schemas.microsoft.com/office/powerpoint/2010/main" val="176197840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292600" y="0"/>
            <a:ext cx="78994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30200" y="355600"/>
            <a:ext cx="3619500" cy="5041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4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639" y="6307997"/>
            <a:ext cx="1398205" cy="21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5436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333500" y="1790700"/>
            <a:ext cx="9499600" cy="360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4800" i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Insert important key point or statement here.”</a:t>
            </a:r>
          </a:p>
        </p:txBody>
      </p:sp>
    </p:spTree>
    <p:extLst>
      <p:ext uri="{BB962C8B-B14F-4D97-AF65-F5344CB8AC3E}">
        <p14:creationId xmlns:p14="http://schemas.microsoft.com/office/powerpoint/2010/main" val="394296503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5FDAAA-0307-47A8-8D5E-113DC4A65D51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247380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303077" y="1430338"/>
            <a:ext cx="3593783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58457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54013" y="3598864"/>
            <a:ext cx="3598862" cy="720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4303713" y="3598863"/>
            <a:ext cx="3592512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8247063" y="3598863"/>
            <a:ext cx="3594100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4013" y="4319588"/>
            <a:ext cx="359886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Font typeface="Arial" charset="0"/>
              <a:buNone/>
              <a:defRPr sz="1600"/>
            </a:lvl1pPr>
            <a:lvl2pPr marL="457200" indent="0" algn="ctr">
              <a:buFont typeface="Arial" charset="0"/>
              <a:buNone/>
              <a:defRPr sz="1400"/>
            </a:lvl2pPr>
            <a:lvl3pPr marL="914400" indent="0" algn="ctr">
              <a:buFont typeface="Arial" charset="0"/>
              <a:buNone/>
              <a:defRPr sz="1200"/>
            </a:lvl3pPr>
            <a:lvl4pPr marL="1371600" indent="0" algn="ctr">
              <a:buFont typeface="Arial" charset="0"/>
              <a:buNone/>
              <a:defRPr sz="1100"/>
            </a:lvl4pPr>
            <a:lvl5pPr marL="1828800" indent="0" algn="ctr">
              <a:buFont typeface="Arial" charset="0"/>
              <a:buNone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4303713" y="4319588"/>
            <a:ext cx="359251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8247063" y="4319588"/>
            <a:ext cx="3594100" cy="1447800"/>
          </a:xfrm>
          <a:prstGeom prst="rect">
            <a:avLst/>
          </a:prstGeom>
        </p:spPr>
        <p:txBody>
          <a:bodyPr tIns="182880">
            <a:noAutofit/>
          </a:bodyPr>
          <a:lstStyle>
            <a:lvl1pPr marL="0" indent="0" algn="ctr">
              <a:buNone/>
              <a:defRPr sz="1600"/>
            </a:lvl1pPr>
            <a:lvl2pPr marL="11113" indent="0" algn="ctr">
              <a:buNone/>
              <a:tabLst/>
              <a:defRPr sz="1400"/>
            </a:lvl2pPr>
            <a:lvl3pPr marL="11113" indent="0" algn="ctr">
              <a:buNone/>
              <a:tabLst/>
              <a:defRPr sz="1200"/>
            </a:lvl3pPr>
            <a:lvl4pPr marL="11113" indent="0" algn="ctr">
              <a:buNone/>
              <a:tabLst/>
              <a:defRPr sz="1100"/>
            </a:lvl4pPr>
            <a:lvl5pPr marL="11113" indent="0" algn="ctr">
              <a:buNone/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5648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with Caption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F66CE81-62CC-4268-BDFF-FF0C953DA099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247380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303077" y="1430338"/>
            <a:ext cx="3593783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358457" y="1430338"/>
            <a:ext cx="3594100" cy="21685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54013" y="3598864"/>
            <a:ext cx="3598862" cy="720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4303713" y="3598863"/>
            <a:ext cx="3592512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8247063" y="3598863"/>
            <a:ext cx="3594100" cy="7207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 algn="ctr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 algn="ctr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4013" y="4319588"/>
            <a:ext cx="359886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Font typeface="Arial" charset="0"/>
              <a:buNone/>
              <a:defRPr sz="1600"/>
            </a:lvl1pPr>
            <a:lvl2pPr marL="457200" indent="0" algn="ctr">
              <a:buFont typeface="Arial" charset="0"/>
              <a:buNone/>
              <a:defRPr sz="1400"/>
            </a:lvl2pPr>
            <a:lvl3pPr marL="914400" indent="0" algn="ctr">
              <a:buFont typeface="Arial" charset="0"/>
              <a:buNone/>
              <a:defRPr sz="1200"/>
            </a:lvl3pPr>
            <a:lvl4pPr marL="1371600" indent="0" algn="ctr">
              <a:buFont typeface="Arial" charset="0"/>
              <a:buNone/>
              <a:defRPr sz="1100"/>
            </a:lvl4pPr>
            <a:lvl5pPr marL="1828800" indent="0" algn="ctr">
              <a:buFont typeface="Arial" charset="0"/>
              <a:buNone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1" hasCustomPrompt="1"/>
          </p:nvPr>
        </p:nvSpPr>
        <p:spPr>
          <a:xfrm>
            <a:off x="4303713" y="4319588"/>
            <a:ext cx="3592512" cy="144780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8247063" y="4319588"/>
            <a:ext cx="3594100" cy="1447800"/>
          </a:xfrm>
          <a:prstGeom prst="rect">
            <a:avLst/>
          </a:prstGeom>
        </p:spPr>
        <p:txBody>
          <a:bodyPr tIns="182880">
            <a:noAutofit/>
          </a:bodyPr>
          <a:lstStyle>
            <a:lvl1pPr marL="0" indent="0" algn="ctr">
              <a:buNone/>
              <a:defRPr sz="1600"/>
            </a:lvl1pPr>
            <a:lvl2pPr marL="11113" indent="0" algn="ctr">
              <a:buNone/>
              <a:tabLst/>
              <a:defRPr sz="1400"/>
            </a:lvl2pPr>
            <a:lvl3pPr marL="11113" indent="0" algn="ctr">
              <a:buNone/>
              <a:tabLst/>
              <a:defRPr sz="1200"/>
            </a:lvl3pPr>
            <a:lvl4pPr marL="11113" indent="0" algn="ctr">
              <a:buNone/>
              <a:tabLst/>
              <a:defRPr sz="1100"/>
            </a:lvl4pPr>
            <a:lvl5pPr marL="11113" indent="0" algn="ctr">
              <a:buNone/>
              <a:tabLst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ubtitle"/>
          <p:cNvSpPr>
            <a:spLocks noGrp="1"/>
          </p:cNvSpPr>
          <p:nvPr>
            <p:ph type="body" sz="quarter" idx="23" hasCustomPrompt="1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1998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460845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452C2-4F97-4EA9-B261-7850D16085DE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7188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316551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316551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275914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75914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9235277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235277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647879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06254-0037-43E8-8E49-A1572F6C8E49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Content 4"/>
          <p:cNvSpPr>
            <a:spLocks noGrp="1"/>
          </p:cNvSpPr>
          <p:nvPr>
            <p:ph sz="quarter" idx="28" hasCustomPrompt="1"/>
          </p:nvPr>
        </p:nvSpPr>
        <p:spPr>
          <a:xfrm>
            <a:off x="9234488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1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Subheader 4"/>
          <p:cNvSpPr>
            <a:spLocks noGrp="1"/>
          </p:cNvSpPr>
          <p:nvPr>
            <p:ph type="body" sz="quarter" idx="31"/>
          </p:nvPr>
        </p:nvSpPr>
        <p:spPr>
          <a:xfrm>
            <a:off x="9227770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Content 3"/>
          <p:cNvSpPr>
            <a:spLocks noGrp="1"/>
          </p:cNvSpPr>
          <p:nvPr>
            <p:ph sz="quarter" idx="27" hasCustomPrompt="1"/>
          </p:nvPr>
        </p:nvSpPr>
        <p:spPr>
          <a:xfrm>
            <a:off x="6271989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US"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Subheader 3"/>
          <p:cNvSpPr>
            <a:spLocks noGrp="1"/>
          </p:cNvSpPr>
          <p:nvPr>
            <p:ph type="body" sz="quarter" idx="30"/>
          </p:nvPr>
        </p:nvSpPr>
        <p:spPr>
          <a:xfrm>
            <a:off x="6270697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16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1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12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2"/>
          <p:cNvSpPr>
            <a:spLocks noGrp="1"/>
          </p:cNvSpPr>
          <p:nvPr>
            <p:ph sz="quarter" idx="26" hasCustomPrompt="1"/>
          </p:nvPr>
        </p:nvSpPr>
        <p:spPr>
          <a:xfrm>
            <a:off x="3309490" y="2527300"/>
            <a:ext cx="2606675" cy="3233738"/>
          </a:xfrm>
          <a:prstGeom prst="rect">
            <a:avLst/>
          </a:prstGeom>
        </p:spPr>
        <p:txBody>
          <a:bodyPr vert="horz" lIns="0" tIns="182880" rIns="0" bIns="0" rtlCol="0">
            <a:norm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  <a:lvl4pPr>
              <a:defRPr lang="en-US" sz="1200" smtClean="0"/>
            </a:lvl4pPr>
            <a:lvl5pPr>
              <a:defRPr lang="en-US"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Subheader 2"/>
          <p:cNvSpPr>
            <a:spLocks noGrp="1"/>
          </p:cNvSpPr>
          <p:nvPr>
            <p:ph type="body" sz="quarter" idx="29"/>
          </p:nvPr>
        </p:nvSpPr>
        <p:spPr>
          <a:xfrm>
            <a:off x="3313625" y="1803400"/>
            <a:ext cx="2606675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1"/>
          <p:cNvSpPr>
            <a:spLocks noGrp="1"/>
          </p:cNvSpPr>
          <p:nvPr>
            <p:ph sz="quarter" idx="13" hasCustomPrompt="1"/>
          </p:nvPr>
        </p:nvSpPr>
        <p:spPr>
          <a:xfrm>
            <a:off x="357188" y="2527300"/>
            <a:ext cx="2606040" cy="3234522"/>
          </a:xfrm>
          <a:prstGeom prst="rect">
            <a:avLst/>
          </a:prstGeom>
        </p:spPr>
        <p:txBody>
          <a:bodyPr tIns="18288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ubheader 1"/>
          <p:cNvSpPr>
            <a:spLocks noGrp="1"/>
          </p:cNvSpPr>
          <p:nvPr>
            <p:ph type="body" sz="quarter" idx="16"/>
          </p:nvPr>
        </p:nvSpPr>
        <p:spPr>
          <a:xfrm>
            <a:off x="357188" y="1803400"/>
            <a:ext cx="2606040" cy="698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4"/>
          </p:nvPr>
        </p:nvSpPr>
        <p:spPr>
          <a:xfrm>
            <a:off x="357342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57188" y="346075"/>
            <a:ext cx="11484129" cy="363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3841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2CE421-DC28-430F-AD76-9084D92CA959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23361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23361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278664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78664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6333967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333967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9389270" y="5057223"/>
            <a:ext cx="2606040" cy="1065130"/>
          </a:xfrm>
          <a:prstGeom prst="rect">
            <a:avLst/>
          </a:prstGeom>
        </p:spPr>
        <p:txBody>
          <a:bodyPr tIns="182880"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2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389270" y="4477043"/>
            <a:ext cx="2606040" cy="5801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i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400" i="1">
                <a:solidFill>
                  <a:schemeClr val="tx2"/>
                </a:solidFill>
                <a:latin typeface="+mj-lt"/>
              </a:defRPr>
            </a:lvl2pPr>
            <a:lvl3pPr marL="914400" indent="0">
              <a:buNone/>
              <a:defRPr sz="2400" i="1">
                <a:solidFill>
                  <a:schemeClr val="tx2"/>
                </a:solidFill>
                <a:latin typeface="+mj-lt"/>
              </a:defRPr>
            </a:lvl3pPr>
            <a:lvl4pPr marL="1371600" indent="0">
              <a:buNone/>
              <a:defRPr sz="2400" i="1">
                <a:solidFill>
                  <a:schemeClr val="tx2"/>
                </a:solidFill>
                <a:latin typeface="+mj-lt"/>
              </a:defRPr>
            </a:lvl4pPr>
            <a:lvl5pPr marL="1828800" indent="0">
              <a:buNone/>
              <a:defRPr sz="2400" i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24"/>
          </p:nvPr>
        </p:nvSpPr>
        <p:spPr>
          <a:xfrm>
            <a:off x="3055303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9"/>
          <p:cNvSpPr>
            <a:spLocks noGrp="1"/>
          </p:cNvSpPr>
          <p:nvPr>
            <p:ph type="pic" sz="quarter" idx="25"/>
          </p:nvPr>
        </p:nvSpPr>
        <p:spPr>
          <a:xfrm>
            <a:off x="6108066" y="0"/>
            <a:ext cx="305530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26"/>
          </p:nvPr>
        </p:nvSpPr>
        <p:spPr>
          <a:xfrm>
            <a:off x="9165909" y="0"/>
            <a:ext cx="3052763" cy="432200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697940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E7780F-1EC5-42F4-BD97-C34781C98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652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8E7780F-1EC5-42F4-BD97-C34781C98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BCAC5-AFD5-46EE-AD77-B0CA1989F855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5"/>
          </p:nvPr>
        </p:nvSpPr>
        <p:spPr>
          <a:xfrm>
            <a:off x="8243889" y="1428750"/>
            <a:ext cx="3586755" cy="43330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hart Placeholder"/>
          <p:cNvSpPr>
            <a:spLocks noGrp="1"/>
          </p:cNvSpPr>
          <p:nvPr>
            <p:ph sz="quarter" idx="13" hasCustomPrompt="1"/>
          </p:nvPr>
        </p:nvSpPr>
        <p:spPr>
          <a:xfrm>
            <a:off x="357189" y="1428750"/>
            <a:ext cx="7529512" cy="4333073"/>
          </a:xfrm>
          <a:prstGeom prst="rect">
            <a:avLst/>
          </a:prstGeom>
        </p:spPr>
        <p:txBody>
          <a:bodyPr anchor="t"/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Insert chart, table, or smart 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hart or Graphic and Caption</a:t>
            </a:r>
          </a:p>
        </p:txBody>
      </p:sp>
    </p:spTree>
    <p:extLst>
      <p:ext uri="{BB962C8B-B14F-4D97-AF65-F5344CB8AC3E}">
        <p14:creationId xmlns:p14="http://schemas.microsoft.com/office/powerpoint/2010/main" val="316666875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FF43B-2887-4CAB-818F-D75A41BD4E1D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57188" y="1428750"/>
            <a:ext cx="11484291" cy="433307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Insert chart, table, or smart 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entered Chart Slide</a:t>
            </a:r>
          </a:p>
        </p:txBody>
      </p:sp>
    </p:spTree>
    <p:extLst>
      <p:ext uri="{BB962C8B-B14F-4D97-AF65-F5344CB8AC3E}">
        <p14:creationId xmlns:p14="http://schemas.microsoft.com/office/powerpoint/2010/main" val="260923220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481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119001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16636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71250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DC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1998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051458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pspital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"/>
            <a:ext cx="12191996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995119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spita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621"/>
            <a:ext cx="12191996" cy="6857997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3738369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m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"/>
            <a:ext cx="12191996" cy="6857997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  <p:extLst>
      <p:ext uri="{BB962C8B-B14F-4D97-AF65-F5344CB8AC3E}">
        <p14:creationId xmlns:p14="http://schemas.microsoft.com/office/powerpoint/2010/main" val="1840569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Hom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21"/>
            <a:ext cx="12191999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7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  <p:sp>
        <p:nvSpPr>
          <p:cNvPr id="9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72310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216" imgH="216" progId="TCLayout.ActiveDocument.1">
                  <p:embed/>
                </p:oleObj>
              </mc:Choice>
              <mc:Fallback>
                <p:oleObj name="think-cell Slide" r:id="rId51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93A009-5529-480C-989E-E7251E4A6EFA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FAD01E-D414-4AC9-ACE4-A2695C3D1678}" type="datetime1">
              <a:rPr lang="en-US" smtClean="0"/>
              <a:t>12/31/2020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57351" y="1825625"/>
            <a:ext cx="11484129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17" r:id="rId2"/>
    <p:sldLayoutId id="2147483661" r:id="rId3"/>
    <p:sldLayoutId id="2147483728" r:id="rId4"/>
    <p:sldLayoutId id="2147483729" r:id="rId5"/>
    <p:sldLayoutId id="2147483730" r:id="rId6"/>
    <p:sldLayoutId id="2147483735" r:id="rId7"/>
    <p:sldLayoutId id="2147483731" r:id="rId8"/>
    <p:sldLayoutId id="2147483679" r:id="rId9"/>
    <p:sldLayoutId id="2147483732" r:id="rId10"/>
    <p:sldLayoutId id="2147483733" r:id="rId11"/>
    <p:sldLayoutId id="2147483734" r:id="rId12"/>
    <p:sldLayoutId id="2147483662" r:id="rId13"/>
    <p:sldLayoutId id="2147483663" r:id="rId14"/>
    <p:sldLayoutId id="2147483665" r:id="rId15"/>
    <p:sldLayoutId id="2147483667" r:id="rId16"/>
    <p:sldLayoutId id="2147483666" r:id="rId17"/>
    <p:sldLayoutId id="2147483736" r:id="rId18"/>
    <p:sldLayoutId id="2147483738" r:id="rId19"/>
    <p:sldLayoutId id="2147483737" r:id="rId20"/>
    <p:sldLayoutId id="2147483739" r:id="rId21"/>
    <p:sldLayoutId id="2147483721" r:id="rId22"/>
    <p:sldLayoutId id="2147483692" r:id="rId23"/>
    <p:sldLayoutId id="2147483697" r:id="rId24"/>
    <p:sldLayoutId id="2147483695" r:id="rId25"/>
    <p:sldLayoutId id="2147483718" r:id="rId26"/>
    <p:sldLayoutId id="2147483696" r:id="rId27"/>
    <p:sldLayoutId id="2147483719" r:id="rId28"/>
    <p:sldLayoutId id="2147483693" r:id="rId29"/>
    <p:sldLayoutId id="2147483698" r:id="rId30"/>
    <p:sldLayoutId id="2147483699" r:id="rId31"/>
    <p:sldLayoutId id="2147483700" r:id="rId32"/>
    <p:sldLayoutId id="2147483708" r:id="rId33"/>
    <p:sldLayoutId id="2147483720" r:id="rId34"/>
    <p:sldLayoutId id="2147483704" r:id="rId35"/>
    <p:sldLayoutId id="2147483727" r:id="rId36"/>
    <p:sldLayoutId id="2147483705" r:id="rId37"/>
    <p:sldLayoutId id="2147483722" r:id="rId38"/>
    <p:sldLayoutId id="2147483723" r:id="rId39"/>
    <p:sldLayoutId id="2147483703" r:id="rId40"/>
    <p:sldLayoutId id="2147483709" r:id="rId41"/>
    <p:sldLayoutId id="2147483710" r:id="rId42"/>
    <p:sldLayoutId id="2147483711" r:id="rId43"/>
    <p:sldLayoutId id="2147483712" r:id="rId44"/>
    <p:sldLayoutId id="2147483725" r:id="rId45"/>
    <p:sldLayoutId id="2147483740" r:id="rId46"/>
    <p:sldLayoutId id="2147483726" r:id="rId47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94" userDrawn="1">
          <p15:clr>
            <a:srgbClr val="A4A3A4"/>
          </p15:clr>
        </p15:guide>
        <p15:guide id="2" pos="7464" userDrawn="1">
          <p15:clr>
            <a:srgbClr val="A4A3A4"/>
          </p15:clr>
        </p15:guide>
        <p15:guide id="3" pos="216" userDrawn="1">
          <p15:clr>
            <a:srgbClr val="A4A3A4"/>
          </p15:clr>
        </p15:guide>
        <p15:guide id="5" orient="horz" pos="21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alpaca.markets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CC5557-E503-492F-9538-70352A842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785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CC5557-E503-492F-9538-70352A842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4AAAA83-D2D6-42F4-A959-92900B3185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58A74D-79BC-4F9B-80E8-E7E7A9486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 Advising!</a:t>
            </a:r>
            <a:br>
              <a:rPr lang="en-US" dirty="0"/>
            </a:br>
            <a:r>
              <a:rPr lang="en-US" dirty="0"/>
              <a:t>Making Investing Cheaper and More Likel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37F6A1-6195-4FEF-9E46-C5B53FE2DE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rika Cunningham, Brian Putman, Bill Udeh, Alex Wis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DB0226D-13AC-4B6A-BAF3-2F4E2FCA51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anuary 4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18999224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6650C0-F976-364A-88AC-06D936FCA9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4060CE-CE3A-FE46-9926-A7BF459A0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for Toda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73A2432-9C5C-1641-B3B8-500BD7B415DF}"/>
              </a:ext>
            </a:extLst>
          </p:cNvPr>
          <p:cNvGrpSpPr/>
          <p:nvPr/>
        </p:nvGrpSpPr>
        <p:grpSpPr>
          <a:xfrm>
            <a:off x="356616" y="1069848"/>
            <a:ext cx="11484864" cy="4506455"/>
            <a:chOff x="356616" y="1299987"/>
            <a:chExt cx="11484864" cy="4506455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1800D84-085F-4D47-B71B-33982AFCDC3D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2455661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5E8991A-B1FC-9B4D-BFAB-2FC828086F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6616" y="1764792"/>
              <a:ext cx="11484864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01C0C06-3779-234C-9D58-1B8C499312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1897157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8109992-68E6-9947-9120-1834EA0C6044}"/>
                </a:ext>
              </a:extLst>
            </p:cNvPr>
            <p:cNvSpPr/>
            <p:nvPr/>
          </p:nvSpPr>
          <p:spPr>
            <a:xfrm>
              <a:off x="881752" y="178415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Topic and Why We Chose It 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0248613-5C67-114C-AE57-EE99D2072A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2569026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82782B-E89D-8840-8D79-2DC94CDAE941}"/>
                </a:ext>
              </a:extLst>
            </p:cNvPr>
            <p:cNvSpPr/>
            <p:nvPr/>
          </p:nvSpPr>
          <p:spPr>
            <a:xfrm>
              <a:off x="881752" y="245602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 Questions We Looked to Address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F0D4E9BC-7BE1-6C47-988E-F3C550250C50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3127530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9FE1E3D-2384-F745-B256-75F54321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3240895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AA17C5F-8734-CB4A-9CBF-E79AF431DD66}"/>
                </a:ext>
              </a:extLst>
            </p:cNvPr>
            <p:cNvSpPr/>
            <p:nvPr/>
          </p:nvSpPr>
          <p:spPr>
            <a:xfrm>
              <a:off x="881752" y="312789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 Sources and Cleaning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83C2F35-46B8-D442-9207-5A25CE2F2A6A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3799399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8DE1360-2DB6-BC4A-970D-4CC0C27E93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3912764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4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6963270E-5EC9-5F42-B117-7EFEFF8078EF}"/>
                </a:ext>
              </a:extLst>
            </p:cNvPr>
            <p:cNvSpPr/>
            <p:nvPr/>
          </p:nvSpPr>
          <p:spPr>
            <a:xfrm>
              <a:off x="881752" y="379976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e Analysis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A481ABCE-42A9-2F47-A4B5-719E0A0EE8AE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4471268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4114765D-2582-CD4A-B138-2EAC94E2AB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4584633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5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3D180BC-7CA0-4449-970D-C59D2CA4ACC2}"/>
                </a:ext>
              </a:extLst>
            </p:cNvPr>
            <p:cNvSpPr/>
            <p:nvPr/>
          </p:nvSpPr>
          <p:spPr>
            <a:xfrm>
              <a:off x="881752" y="4471632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r Conclusions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0DC7112-8245-BD4C-BA7A-978B9B4FCE8A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5143137"/>
              <a:ext cx="11484864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CDBF3A4-C191-804A-AB3A-C748EEC84D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6616" y="5256505"/>
              <a:ext cx="445139" cy="445139"/>
            </a:xfrm>
            <a:prstGeom prst="ellipse">
              <a:avLst/>
            </a:prstGeom>
            <a:solidFill>
              <a:srgbClr val="99BDD1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6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D0D8AB9-FAB9-A247-9DD9-69920EDBE13F}"/>
                </a:ext>
              </a:extLst>
            </p:cNvPr>
            <p:cNvSpPr/>
            <p:nvPr/>
          </p:nvSpPr>
          <p:spPr>
            <a:xfrm>
              <a:off x="881752" y="5143500"/>
              <a:ext cx="10543032" cy="662942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685773">
                <a:defRPr/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tmortem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90A6BB2-C693-1E44-8C24-9EF4E2529AF5}"/>
                </a:ext>
              </a:extLst>
            </p:cNvPr>
            <p:cNvSpPr txBox="1"/>
            <p:nvPr/>
          </p:nvSpPr>
          <p:spPr>
            <a:xfrm>
              <a:off x="356616" y="1299987"/>
              <a:ext cx="5527343" cy="358907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b">
              <a:noAutofit/>
            </a:bodyPr>
            <a:lstStyle/>
            <a:p>
              <a:endParaRPr lang="en-US" sz="16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23522A12-0C34-4D48-857E-22659EE8A8C3}"/>
              </a:ext>
            </a:extLst>
          </p:cNvPr>
          <p:cNvSpPr/>
          <p:nvPr/>
        </p:nvSpPr>
        <p:spPr>
          <a:xfrm>
            <a:off x="881752" y="5546864"/>
            <a:ext cx="10543032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&amp;A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7E55834-AF43-43D1-88B7-CE93A4A6DE7C}"/>
              </a:ext>
            </a:extLst>
          </p:cNvPr>
          <p:cNvCxnSpPr>
            <a:cxnSpLocks/>
          </p:cNvCxnSpPr>
          <p:nvPr/>
        </p:nvCxnSpPr>
        <p:spPr>
          <a:xfrm>
            <a:off x="356616" y="5576303"/>
            <a:ext cx="11484864" cy="0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7D4E1A4-9BC8-428E-BFCE-D45A347CA83E}"/>
              </a:ext>
            </a:extLst>
          </p:cNvPr>
          <p:cNvSpPr>
            <a:spLocks noChangeAspect="1"/>
          </p:cNvSpPr>
          <p:nvPr/>
        </p:nvSpPr>
        <p:spPr>
          <a:xfrm>
            <a:off x="356616" y="5641318"/>
            <a:ext cx="445139" cy="445139"/>
          </a:xfrm>
          <a:prstGeom prst="ellipse">
            <a:avLst/>
          </a:prstGeom>
          <a:solidFill>
            <a:srgbClr val="99BDD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43401471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987181"/>
              </p:ext>
            </p:extLst>
          </p:nvPr>
        </p:nvGraphicFramePr>
        <p:xfrm>
          <a:off x="248188" y="2603562"/>
          <a:ext cx="5522988" cy="2240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26% of Americans have no retirement savings</a:t>
                      </a:r>
                      <a:r>
                        <a:rPr lang="en-US" sz="14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mong those aged 18 – 29, the number is even higher at 42%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Often, individuals feel overwhelmed and don’t know where to start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howing the benefits of compound interest and low fee indexes, can be a great motivator to get people started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The Opportunity 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The Solution</a:t>
            </a:r>
            <a:endParaRPr lang="en-US" sz="1600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15205" y="1931663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Robo Advisor which uses diversified, low expense indexes, to make investing more accessible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83259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873646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k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user basic questions to help guide them to a portfolio that meets their need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0D36FA5-B956-45B0-ACD2-C24E4745905A}"/>
              </a:ext>
            </a:extLst>
          </p:cNvPr>
          <p:cNvSpPr/>
          <p:nvPr/>
        </p:nvSpPr>
        <p:spPr>
          <a:xfrm>
            <a:off x="7315205" y="3815629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ducat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user by providing them with information about each investment option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757611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how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investor the potential returns they could generate compared to just letting their money sit in savings</a:t>
            </a:r>
          </a:p>
        </p:txBody>
      </p:sp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B3615C2D-21BA-447B-80C3-8EBFAF419B69}"/>
              </a:ext>
            </a:extLst>
          </p:cNvPr>
          <p:cNvSpPr txBox="1">
            <a:spLocks/>
          </p:cNvSpPr>
          <p:nvPr/>
        </p:nvSpPr>
        <p:spPr>
          <a:xfrm>
            <a:off x="852651" y="6354082"/>
            <a:ext cx="3367657" cy="15784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baseline="30000" dirty="0"/>
              <a:t>1</a:t>
            </a:r>
            <a:r>
              <a:rPr lang="en-US" i="1" dirty="0"/>
              <a:t>: 2018, Federal Reserve Economic Well-Being Report</a:t>
            </a:r>
          </a:p>
        </p:txBody>
      </p: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FC3DDC68-B912-4C2E-89EB-C4CED3E52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355" y="4780340"/>
            <a:ext cx="617483" cy="617483"/>
          </a:xfrm>
          <a:prstGeom prst="rect">
            <a:avLst/>
          </a:prstGeom>
        </p:spPr>
      </p:pic>
      <p:pic>
        <p:nvPicPr>
          <p:cNvPr id="37" name="Picture 36" descr="A picture containing building, clock&#10;&#10;Description automatically generated">
            <a:extLst>
              <a:ext uri="{FF2B5EF4-FFF2-40B4-BE49-F238E27FC236}">
                <a16:creationId xmlns:a16="http://schemas.microsoft.com/office/drawing/2014/main" id="{4F8D349C-989E-4AE2-BA39-E8EF23546B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860207"/>
            <a:ext cx="573786" cy="573786"/>
          </a:xfrm>
          <a:prstGeom prst="rect">
            <a:avLst/>
          </a:prstGeom>
        </p:spPr>
      </p:pic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140" y="1952238"/>
            <a:ext cx="621792" cy="621792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915829"/>
            <a:ext cx="621792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77762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E108866D-5435-4ABB-B7B1-C84F2AE8C712}"/>
              </a:ext>
            </a:extLst>
          </p:cNvPr>
          <p:cNvSpPr/>
          <p:nvPr/>
        </p:nvSpPr>
        <p:spPr>
          <a:xfrm>
            <a:off x="8103979" y="2880638"/>
            <a:ext cx="3126377" cy="292421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we help motivate an investor by showing them the benefit of investing vs. letting their money sit in a savings account?</a:t>
            </a:r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B1745AF2-A4B5-4B3D-B046-408D9C52BA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B1745AF2-A4B5-4B3D-B046-408D9C52B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E8C81170-6268-4DC7-9D96-B1AB3F5E68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CC0C49-B2C4-48B4-B162-BAA1ADD302D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401295" y="6344338"/>
            <a:ext cx="4114800" cy="182880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79FAF9-599B-449A-BC88-65A5DDB6329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25C1E45-0A9B-4C0B-A154-9961D4962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to Be Answere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60B543-AB0F-4358-970E-4186407E52BA}"/>
              </a:ext>
            </a:extLst>
          </p:cNvPr>
          <p:cNvSpPr/>
          <p:nvPr/>
        </p:nvSpPr>
        <p:spPr>
          <a:xfrm>
            <a:off x="961645" y="1704981"/>
            <a:ext cx="3126377" cy="292421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w can we create an investment service that is both low cost, while still providing the client with guidance along the way?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B7B5D50-94B7-4EEB-9517-2092971294B7}"/>
              </a:ext>
            </a:extLst>
          </p:cNvPr>
          <p:cNvSpPr/>
          <p:nvPr/>
        </p:nvSpPr>
        <p:spPr>
          <a:xfrm>
            <a:off x="4532812" y="2292810"/>
            <a:ext cx="3126377" cy="2924214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we leverage user input to offer a variety of investment options?</a:t>
            </a:r>
          </a:p>
        </p:txBody>
      </p:sp>
      <p:pic>
        <p:nvPicPr>
          <p:cNvPr id="17" name="Picture 16" descr="A close up of a sign&#10;&#10;Description automatically generated">
            <a:extLst>
              <a:ext uri="{FF2B5EF4-FFF2-40B4-BE49-F238E27FC236}">
                <a16:creationId xmlns:a16="http://schemas.microsoft.com/office/drawing/2014/main" id="{351E023A-35F9-4CEF-9CA3-5828C22978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5687" y="2424662"/>
            <a:ext cx="822960" cy="822960"/>
          </a:xfrm>
          <a:prstGeom prst="rect">
            <a:avLst/>
          </a:prstGeom>
        </p:spPr>
      </p:pic>
      <p:pic>
        <p:nvPicPr>
          <p:cNvPr id="18" name="Picture 17" descr="A close up of a logo&#10;&#10;Description automatically generated">
            <a:extLst>
              <a:ext uri="{FF2B5EF4-FFF2-40B4-BE49-F238E27FC236}">
                <a16:creationId xmlns:a16="http://schemas.microsoft.com/office/drawing/2014/main" id="{096D3E21-1EC2-4B0A-852E-8FB03BF044D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4520" y="1861931"/>
            <a:ext cx="822960" cy="822960"/>
          </a:xfrm>
          <a:prstGeom prst="rect">
            <a:avLst/>
          </a:prstGeom>
        </p:spPr>
      </p:pic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7FE6F6DD-E829-4C0B-93E0-E2A87369C75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769" y="1288472"/>
            <a:ext cx="82296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4632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Sources and Cleanup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To avoid using flat, static files, we leveraged the Alpaca API to bring in our data</a:t>
            </a:r>
          </a:p>
          <a:p>
            <a:pPr lvl="1">
              <a:spcAft>
                <a:spcPts val="1200"/>
              </a:spcAft>
            </a:pPr>
            <a:r>
              <a:rPr lang="en-US" dirty="0">
                <a:hlinkClick r:id="rId3"/>
              </a:rPr>
              <a:t>https://alpaca.markets/</a:t>
            </a:r>
            <a:r>
              <a:rPr lang="en-US" dirty="0"/>
              <a:t> </a:t>
            </a:r>
          </a:p>
          <a:p>
            <a:pPr>
              <a:spcAft>
                <a:spcPts val="1200"/>
              </a:spcAft>
            </a:pPr>
            <a:r>
              <a:rPr lang="en-US" dirty="0"/>
              <a:t>Our data is pre-sorted based on the pulled date ranges</a:t>
            </a:r>
          </a:p>
          <a:p>
            <a:pPr>
              <a:spcAft>
                <a:spcPts val="1200"/>
              </a:spcAft>
            </a:pPr>
            <a:r>
              <a:rPr lang="en-US" dirty="0"/>
              <a:t>Checks were made for null values</a:t>
            </a:r>
          </a:p>
          <a:p>
            <a:pPr lvl="1">
              <a:spcAft>
                <a:spcPts val="1200"/>
              </a:spcAft>
            </a:pPr>
            <a:r>
              <a:rPr lang="en-US" dirty="0" err="1"/>
              <a:t>df_portfolio_data.isnull</a:t>
            </a:r>
            <a:r>
              <a:rPr lang="en-US" dirty="0"/>
              <a:t>().mean()*100</a:t>
            </a:r>
          </a:p>
        </p:txBody>
      </p:sp>
    </p:spTree>
    <p:extLst>
      <p:ext uri="{BB962C8B-B14F-4D97-AF65-F5344CB8AC3E}">
        <p14:creationId xmlns:p14="http://schemas.microsoft.com/office/powerpoint/2010/main" val="294635601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1A9BC143-727C-4F20-B1FC-2388FBFF29DA}"/>
              </a:ext>
            </a:extLst>
          </p:cNvPr>
          <p:cNvSpPr/>
          <p:nvPr/>
        </p:nvSpPr>
        <p:spPr>
          <a:xfrm>
            <a:off x="353567" y="2157465"/>
            <a:ext cx="5162527" cy="3407527"/>
          </a:xfrm>
          <a:prstGeom prst="rect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084A92-72D9-4B2D-908D-AC6589E971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084A92-72D9-4B2D-908D-AC6589E97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42AF26E-FAD3-4D16-9DFF-0B6E1AA634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A566BE-A7DD-1542-951C-A867039BC5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6AEEF9-5B05-4347-B4F6-6B37FC412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si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36B36B3-A82E-4FA3-9A74-1045DEBBF497}"/>
              </a:ext>
            </a:extLst>
          </p:cNvPr>
          <p:cNvSpPr/>
          <p:nvPr/>
        </p:nvSpPr>
        <p:spPr>
          <a:xfrm>
            <a:off x="2704564" y="1204122"/>
            <a:ext cx="9132071" cy="7315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lvl="0">
              <a:spcAft>
                <a:spcPts val="1200"/>
              </a:spcAft>
              <a:defRPr/>
            </a:pPr>
            <a:endParaRPr lang="en-US" sz="140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66B8308-579D-4688-98EA-5E42BF2BA581}"/>
              </a:ext>
            </a:extLst>
          </p:cNvPr>
          <p:cNvSpPr/>
          <p:nvPr/>
        </p:nvSpPr>
        <p:spPr>
          <a:xfrm>
            <a:off x="353568" y="1204122"/>
            <a:ext cx="2350996" cy="731520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rgbClr val="005A8C"/>
            </a:solidFill>
            <a:prstDash val="solid"/>
          </a:ln>
          <a:effectLst/>
        </p:spPr>
        <p:txBody>
          <a:bodyPr lIns="822960" rIns="45720" rtlCol="0" anchor="ctr"/>
          <a:lstStyle/>
          <a:p>
            <a:pPr lvl="0">
              <a:defRPr/>
            </a:pPr>
            <a:r>
              <a:rPr lang="en-US" sz="1400" b="1" kern="0" dirty="0">
                <a:solidFill>
                  <a:schemeClr val="bg2"/>
                </a:solidFill>
                <a:cs typeface="Arial" panose="020B0604020202020204" pitchFamily="34" charset="0"/>
              </a:rPr>
              <a:t>Historical and Simulated Info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05C82D5-2FEA-47F7-B8AF-A265D457A967}"/>
              </a:ext>
            </a:extLst>
          </p:cNvPr>
          <p:cNvSpPr/>
          <p:nvPr/>
        </p:nvSpPr>
        <p:spPr>
          <a:xfrm>
            <a:off x="534910" y="2348936"/>
            <a:ext cx="4470036" cy="3185487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 our client make an educated choice of which assets they may want to invest in, we plotted cumulative returns as well as a rolling standard deviation for each asset category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then ran a Monte Carlo analysis based on the user’s selections for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retirement age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 selectio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lerance for risk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unt of money to invest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5B02F3F7-D478-4945-8EB5-0B34C76E92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849" y="1298999"/>
            <a:ext cx="510032" cy="51003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181018-34E1-4550-B208-0E61522BBD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9301" y="4514987"/>
            <a:ext cx="5827790" cy="22585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3347C4-83E2-47E0-AC73-F50938BBD50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81910" y="2013439"/>
            <a:ext cx="6012263" cy="239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25988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65FF1B0-82FF-42EB-8FDE-0D41961900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65FF1B0-82FF-42EB-8FDE-0D4196190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34C8F4D-4B20-4A9A-8680-A1007F26D3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5" name="Slide Number Placeholder 3">
            <a:extLst>
              <a:ext uri="{FF2B5EF4-FFF2-40B4-BE49-F238E27FC236}">
                <a16:creationId xmlns:a16="http://schemas.microsoft.com/office/drawing/2014/main" id="{19FB6956-4D1D-41CE-8720-3FDCC6B2C4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0"/>
            <a:fld id="{34971C27-C87E-45F4-8EEB-007BFB32C23B}" type="slidenum">
              <a:rPr lang="en-US" noProof="0" smtClean="0"/>
              <a:pPr lvl="0"/>
              <a:t>7</a:t>
            </a:fld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4B552BE-1E21-42EE-9C22-CEE6AD4C6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</p:spPr>
        <p:txBody>
          <a:bodyPr/>
          <a:lstStyle/>
          <a:p>
            <a:r>
              <a:rPr lang="en-US" dirty="0"/>
              <a:t>Our Findings</a:t>
            </a:r>
          </a:p>
        </p:txBody>
      </p:sp>
      <p:sp>
        <p:nvSpPr>
          <p:cNvPr id="31" name="Freeform 25">
            <a:extLst>
              <a:ext uri="{FF2B5EF4-FFF2-40B4-BE49-F238E27FC236}">
                <a16:creationId xmlns:a16="http://schemas.microsoft.com/office/drawing/2014/main" id="{C8EC8753-36B3-4E07-AD3B-2D3E0472398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01295" y="5327901"/>
            <a:ext cx="825558" cy="822960"/>
          </a:xfrm>
          <a:custGeom>
            <a:avLst/>
            <a:gdLst>
              <a:gd name="T0" fmla="*/ 288 w 302"/>
              <a:gd name="T1" fmla="*/ 0 h 302"/>
              <a:gd name="T2" fmla="*/ 14 w 302"/>
              <a:gd name="T3" fmla="*/ 0 h 302"/>
              <a:gd name="T4" fmla="*/ 0 w 302"/>
              <a:gd name="T5" fmla="*/ 14 h 302"/>
              <a:gd name="T6" fmla="*/ 0 w 302"/>
              <a:gd name="T7" fmla="*/ 288 h 302"/>
              <a:gd name="T8" fmla="*/ 14 w 302"/>
              <a:gd name="T9" fmla="*/ 302 h 302"/>
              <a:gd name="T10" fmla="*/ 288 w 302"/>
              <a:gd name="T11" fmla="*/ 302 h 302"/>
              <a:gd name="T12" fmla="*/ 302 w 302"/>
              <a:gd name="T13" fmla="*/ 288 h 302"/>
              <a:gd name="T14" fmla="*/ 302 w 302"/>
              <a:gd name="T15" fmla="*/ 14 h 302"/>
              <a:gd name="T16" fmla="*/ 288 w 302"/>
              <a:gd name="T17" fmla="*/ 0 h 302"/>
              <a:gd name="T18" fmla="*/ 250 w 302"/>
              <a:gd name="T19" fmla="*/ 257 h 302"/>
              <a:gd name="T20" fmla="*/ 45 w 302"/>
              <a:gd name="T21" fmla="*/ 257 h 302"/>
              <a:gd name="T22" fmla="*/ 45 w 302"/>
              <a:gd name="T23" fmla="*/ 53 h 302"/>
              <a:gd name="T24" fmla="*/ 52 w 302"/>
              <a:gd name="T25" fmla="*/ 46 h 302"/>
              <a:gd name="T26" fmla="*/ 60 w 302"/>
              <a:gd name="T27" fmla="*/ 53 h 302"/>
              <a:gd name="T28" fmla="*/ 60 w 302"/>
              <a:gd name="T29" fmla="*/ 242 h 302"/>
              <a:gd name="T30" fmla="*/ 90 w 302"/>
              <a:gd name="T31" fmla="*/ 242 h 302"/>
              <a:gd name="T32" fmla="*/ 90 w 302"/>
              <a:gd name="T33" fmla="*/ 97 h 302"/>
              <a:gd name="T34" fmla="*/ 123 w 302"/>
              <a:gd name="T35" fmla="*/ 97 h 302"/>
              <a:gd name="T36" fmla="*/ 123 w 302"/>
              <a:gd name="T37" fmla="*/ 242 h 302"/>
              <a:gd name="T38" fmla="*/ 138 w 302"/>
              <a:gd name="T39" fmla="*/ 242 h 302"/>
              <a:gd name="T40" fmla="*/ 138 w 302"/>
              <a:gd name="T41" fmla="*/ 170 h 302"/>
              <a:gd name="T42" fmla="*/ 171 w 302"/>
              <a:gd name="T43" fmla="*/ 170 h 302"/>
              <a:gd name="T44" fmla="*/ 171 w 302"/>
              <a:gd name="T45" fmla="*/ 242 h 302"/>
              <a:gd name="T46" fmla="*/ 187 w 302"/>
              <a:gd name="T47" fmla="*/ 242 h 302"/>
              <a:gd name="T48" fmla="*/ 187 w 302"/>
              <a:gd name="T49" fmla="*/ 118 h 302"/>
              <a:gd name="T50" fmla="*/ 220 w 302"/>
              <a:gd name="T51" fmla="*/ 118 h 302"/>
              <a:gd name="T52" fmla="*/ 220 w 302"/>
              <a:gd name="T53" fmla="*/ 242 h 302"/>
              <a:gd name="T54" fmla="*/ 250 w 302"/>
              <a:gd name="T55" fmla="*/ 242 h 302"/>
              <a:gd name="T56" fmla="*/ 257 w 302"/>
              <a:gd name="T57" fmla="*/ 249 h 302"/>
              <a:gd name="T58" fmla="*/ 250 w 302"/>
              <a:gd name="T59" fmla="*/ 257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02" h="302">
                <a:moveTo>
                  <a:pt x="288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4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6"/>
                  <a:pt x="6" y="302"/>
                  <a:pt x="14" y="302"/>
                </a:cubicBezTo>
                <a:cubicBezTo>
                  <a:pt x="288" y="302"/>
                  <a:pt x="288" y="302"/>
                  <a:pt x="288" y="302"/>
                </a:cubicBezTo>
                <a:cubicBezTo>
                  <a:pt x="296" y="302"/>
                  <a:pt x="302" y="296"/>
                  <a:pt x="302" y="288"/>
                </a:cubicBezTo>
                <a:cubicBezTo>
                  <a:pt x="302" y="14"/>
                  <a:pt x="302" y="14"/>
                  <a:pt x="302" y="14"/>
                </a:cubicBezTo>
                <a:cubicBezTo>
                  <a:pt x="302" y="6"/>
                  <a:pt x="296" y="0"/>
                  <a:pt x="288" y="0"/>
                </a:cubicBezTo>
                <a:close/>
                <a:moveTo>
                  <a:pt x="250" y="257"/>
                </a:moveTo>
                <a:cubicBezTo>
                  <a:pt x="45" y="257"/>
                  <a:pt x="45" y="257"/>
                  <a:pt x="45" y="257"/>
                </a:cubicBezTo>
                <a:cubicBezTo>
                  <a:pt x="45" y="53"/>
                  <a:pt x="45" y="53"/>
                  <a:pt x="45" y="53"/>
                </a:cubicBezTo>
                <a:cubicBezTo>
                  <a:pt x="45" y="49"/>
                  <a:pt x="48" y="46"/>
                  <a:pt x="52" y="46"/>
                </a:cubicBezTo>
                <a:cubicBezTo>
                  <a:pt x="57" y="46"/>
                  <a:pt x="60" y="49"/>
                  <a:pt x="60" y="53"/>
                </a:cubicBezTo>
                <a:cubicBezTo>
                  <a:pt x="60" y="242"/>
                  <a:pt x="60" y="242"/>
                  <a:pt x="60" y="242"/>
                </a:cubicBezTo>
                <a:cubicBezTo>
                  <a:pt x="90" y="242"/>
                  <a:pt x="90" y="242"/>
                  <a:pt x="90" y="242"/>
                </a:cubicBezTo>
                <a:cubicBezTo>
                  <a:pt x="90" y="97"/>
                  <a:pt x="90" y="97"/>
                  <a:pt x="90" y="97"/>
                </a:cubicBezTo>
                <a:cubicBezTo>
                  <a:pt x="123" y="97"/>
                  <a:pt x="123" y="97"/>
                  <a:pt x="123" y="97"/>
                </a:cubicBezTo>
                <a:cubicBezTo>
                  <a:pt x="123" y="242"/>
                  <a:pt x="123" y="242"/>
                  <a:pt x="123" y="242"/>
                </a:cubicBezTo>
                <a:cubicBezTo>
                  <a:pt x="138" y="242"/>
                  <a:pt x="138" y="242"/>
                  <a:pt x="138" y="242"/>
                </a:cubicBezTo>
                <a:cubicBezTo>
                  <a:pt x="138" y="170"/>
                  <a:pt x="138" y="170"/>
                  <a:pt x="138" y="170"/>
                </a:cubicBezTo>
                <a:cubicBezTo>
                  <a:pt x="171" y="170"/>
                  <a:pt x="171" y="170"/>
                  <a:pt x="171" y="170"/>
                </a:cubicBezTo>
                <a:cubicBezTo>
                  <a:pt x="171" y="242"/>
                  <a:pt x="171" y="242"/>
                  <a:pt x="171" y="242"/>
                </a:cubicBezTo>
                <a:cubicBezTo>
                  <a:pt x="187" y="242"/>
                  <a:pt x="187" y="242"/>
                  <a:pt x="187" y="242"/>
                </a:cubicBezTo>
                <a:cubicBezTo>
                  <a:pt x="187" y="118"/>
                  <a:pt x="187" y="118"/>
                  <a:pt x="187" y="118"/>
                </a:cubicBezTo>
                <a:cubicBezTo>
                  <a:pt x="220" y="118"/>
                  <a:pt x="220" y="118"/>
                  <a:pt x="220" y="118"/>
                </a:cubicBezTo>
                <a:cubicBezTo>
                  <a:pt x="220" y="242"/>
                  <a:pt x="220" y="242"/>
                  <a:pt x="220" y="242"/>
                </a:cubicBezTo>
                <a:cubicBezTo>
                  <a:pt x="250" y="242"/>
                  <a:pt x="250" y="242"/>
                  <a:pt x="250" y="242"/>
                </a:cubicBezTo>
                <a:cubicBezTo>
                  <a:pt x="254" y="242"/>
                  <a:pt x="257" y="245"/>
                  <a:pt x="257" y="249"/>
                </a:cubicBezTo>
                <a:cubicBezTo>
                  <a:pt x="257" y="253"/>
                  <a:pt x="254" y="257"/>
                  <a:pt x="250" y="25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52D5254-5C24-E343-9F11-E5AA47B5C18F}"/>
              </a:ext>
            </a:extLst>
          </p:cNvPr>
          <p:cNvGrpSpPr/>
          <p:nvPr/>
        </p:nvGrpSpPr>
        <p:grpSpPr>
          <a:xfrm>
            <a:off x="142596" y="1011987"/>
            <a:ext cx="6149097" cy="5499938"/>
            <a:chOff x="142596" y="1332179"/>
            <a:chExt cx="6149097" cy="549993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C2E9D8-E4E8-4E5A-9B89-EDF959CF2372}"/>
                </a:ext>
              </a:extLst>
            </p:cNvPr>
            <p:cNvSpPr/>
            <p:nvPr/>
          </p:nvSpPr>
          <p:spPr>
            <a:xfrm>
              <a:off x="578045" y="1921300"/>
              <a:ext cx="3607678" cy="64259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Get User Input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70057D7-36D8-4535-A7DE-74FB280939E5}"/>
                </a:ext>
              </a:extLst>
            </p:cNvPr>
            <p:cNvSpPr/>
            <p:nvPr/>
          </p:nvSpPr>
          <p:spPr>
            <a:xfrm>
              <a:off x="578044" y="2686009"/>
              <a:ext cx="3607677" cy="64259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Update the MC criteria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B4284B1-7E3E-4B9C-8FF4-D9F3A0EA5765}"/>
                </a:ext>
              </a:extLst>
            </p:cNvPr>
            <p:cNvSpPr/>
            <p:nvPr/>
          </p:nvSpPr>
          <p:spPr>
            <a:xfrm>
              <a:off x="578044" y="3453932"/>
              <a:ext cx="3607677" cy="64259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tlCol="0" anchor="ctr"/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Create a tailored dashboard </a:t>
              </a:r>
            </a:p>
          </p:txBody>
        </p:sp>
        <p:grpSp>
          <p:nvGrpSpPr>
            <p:cNvPr id="65" name="Gruppierung 12">
              <a:extLst>
                <a:ext uri="{FF2B5EF4-FFF2-40B4-BE49-F238E27FC236}">
                  <a16:creationId xmlns:a16="http://schemas.microsoft.com/office/drawing/2014/main" id="{A16D8769-A172-422C-AAC2-CEA5986E45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31687" y="4990377"/>
              <a:ext cx="497341" cy="548640"/>
              <a:chOff x="-4049429" y="3721502"/>
              <a:chExt cx="554039" cy="611187"/>
            </a:xfrm>
            <a:solidFill>
              <a:schemeClr val="tx2"/>
            </a:solidFill>
          </p:grpSpPr>
          <p:sp>
            <p:nvSpPr>
              <p:cNvPr id="66" name="Freeform 18">
                <a:extLst>
                  <a:ext uri="{FF2B5EF4-FFF2-40B4-BE49-F238E27FC236}">
                    <a16:creationId xmlns:a16="http://schemas.microsoft.com/office/drawing/2014/main" id="{F3909EC1-D4CB-4467-8258-FA9E6C991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049429" y="3721502"/>
                <a:ext cx="554039" cy="611187"/>
              </a:xfrm>
              <a:custGeom>
                <a:avLst/>
                <a:gdLst>
                  <a:gd name="T0" fmla="*/ 255 w 332"/>
                  <a:gd name="T1" fmla="*/ 334 h 366"/>
                  <a:gd name="T2" fmla="*/ 246 w 332"/>
                  <a:gd name="T3" fmla="*/ 318 h 366"/>
                  <a:gd name="T4" fmla="*/ 234 w 332"/>
                  <a:gd name="T5" fmla="*/ 347 h 366"/>
                  <a:gd name="T6" fmla="*/ 56 w 332"/>
                  <a:gd name="T7" fmla="*/ 326 h 366"/>
                  <a:gd name="T8" fmla="*/ 92 w 332"/>
                  <a:gd name="T9" fmla="*/ 233 h 366"/>
                  <a:gd name="T10" fmla="*/ 147 w 332"/>
                  <a:gd name="T11" fmla="*/ 233 h 366"/>
                  <a:gd name="T12" fmla="*/ 227 w 332"/>
                  <a:gd name="T13" fmla="*/ 326 h 366"/>
                  <a:gd name="T14" fmla="*/ 169 w 332"/>
                  <a:gd name="T15" fmla="*/ 318 h 366"/>
                  <a:gd name="T16" fmla="*/ 160 w 332"/>
                  <a:gd name="T17" fmla="*/ 255 h 366"/>
                  <a:gd name="T18" fmla="*/ 160 w 332"/>
                  <a:gd name="T19" fmla="*/ 246 h 366"/>
                  <a:gd name="T20" fmla="*/ 169 w 332"/>
                  <a:gd name="T21" fmla="*/ 184 h 366"/>
                  <a:gd name="T22" fmla="*/ 227 w 332"/>
                  <a:gd name="T23" fmla="*/ 25 h 366"/>
                  <a:gd name="T24" fmla="*/ 239 w 332"/>
                  <a:gd name="T25" fmla="*/ 0 h 366"/>
                  <a:gd name="T26" fmla="*/ 0 w 332"/>
                  <a:gd name="T27" fmla="*/ 25 h 366"/>
                  <a:gd name="T28" fmla="*/ 12 w 332"/>
                  <a:gd name="T29" fmla="*/ 326 h 366"/>
                  <a:gd name="T30" fmla="*/ 48 w 332"/>
                  <a:gd name="T31" fmla="*/ 355 h 366"/>
                  <a:gd name="T32" fmla="*/ 251 w 332"/>
                  <a:gd name="T33" fmla="*/ 366 h 366"/>
                  <a:gd name="T34" fmla="*/ 332 w 332"/>
                  <a:gd name="T35" fmla="*/ 355 h 366"/>
                  <a:gd name="T36" fmla="*/ 267 w 332"/>
                  <a:gd name="T37" fmla="*/ 347 h 366"/>
                  <a:gd name="T38" fmla="*/ 209 w 332"/>
                  <a:gd name="T39" fmla="*/ 31 h 366"/>
                  <a:gd name="T40" fmla="*/ 165 w 332"/>
                  <a:gd name="T41" fmla="*/ 74 h 366"/>
                  <a:gd name="T42" fmla="*/ 165 w 332"/>
                  <a:gd name="T43" fmla="*/ 92 h 366"/>
                  <a:gd name="T44" fmla="*/ 209 w 332"/>
                  <a:gd name="T45" fmla="*/ 135 h 366"/>
                  <a:gd name="T46" fmla="*/ 165 w 332"/>
                  <a:gd name="T47" fmla="*/ 92 h 366"/>
                  <a:gd name="T48" fmla="*/ 141 w 332"/>
                  <a:gd name="T49" fmla="*/ 31 h 366"/>
                  <a:gd name="T50" fmla="*/ 98 w 332"/>
                  <a:gd name="T51" fmla="*/ 74 h 366"/>
                  <a:gd name="T52" fmla="*/ 98 w 332"/>
                  <a:gd name="T53" fmla="*/ 92 h 366"/>
                  <a:gd name="T54" fmla="*/ 141 w 332"/>
                  <a:gd name="T55" fmla="*/ 135 h 366"/>
                  <a:gd name="T56" fmla="*/ 98 w 332"/>
                  <a:gd name="T57" fmla="*/ 92 h 366"/>
                  <a:gd name="T58" fmla="*/ 74 w 332"/>
                  <a:gd name="T59" fmla="*/ 31 h 366"/>
                  <a:gd name="T60" fmla="*/ 30 w 332"/>
                  <a:gd name="T61" fmla="*/ 74 h 366"/>
                  <a:gd name="T62" fmla="*/ 30 w 332"/>
                  <a:gd name="T63" fmla="*/ 135 h 366"/>
                  <a:gd name="T64" fmla="*/ 74 w 332"/>
                  <a:gd name="T65" fmla="*/ 92 h 366"/>
                  <a:gd name="T66" fmla="*/ 30 w 332"/>
                  <a:gd name="T67" fmla="*/ 135 h 366"/>
                  <a:gd name="T68" fmla="*/ 259 w 332"/>
                  <a:gd name="T69" fmla="*/ 351 h 366"/>
                  <a:gd name="T70" fmla="*/ 259 w 332"/>
                  <a:gd name="T71" fmla="*/ 352 h 366"/>
                  <a:gd name="T72" fmla="*/ 258 w 332"/>
                  <a:gd name="T73" fmla="*/ 353 h 366"/>
                  <a:gd name="T74" fmla="*/ 258 w 332"/>
                  <a:gd name="T75" fmla="*/ 353 h 366"/>
                  <a:gd name="T76" fmla="*/ 257 w 332"/>
                  <a:gd name="T77" fmla="*/ 355 h 366"/>
                  <a:gd name="T78" fmla="*/ 244 w 332"/>
                  <a:gd name="T79" fmla="*/ 355 h 366"/>
                  <a:gd name="T80" fmla="*/ 243 w 332"/>
                  <a:gd name="T81" fmla="*/ 353 h 366"/>
                  <a:gd name="T82" fmla="*/ 242 w 332"/>
                  <a:gd name="T83" fmla="*/ 352 h 366"/>
                  <a:gd name="T84" fmla="*/ 242 w 332"/>
                  <a:gd name="T85" fmla="*/ 351 h 366"/>
                  <a:gd name="T86" fmla="*/ 242 w 332"/>
                  <a:gd name="T87" fmla="*/ 349 h 366"/>
                  <a:gd name="T88" fmla="*/ 242 w 332"/>
                  <a:gd name="T89" fmla="*/ 348 h 366"/>
                  <a:gd name="T90" fmla="*/ 246 w 332"/>
                  <a:gd name="T91" fmla="*/ 342 h 366"/>
                  <a:gd name="T92" fmla="*/ 248 w 332"/>
                  <a:gd name="T93" fmla="*/ 341 h 366"/>
                  <a:gd name="T94" fmla="*/ 249 w 332"/>
                  <a:gd name="T95" fmla="*/ 341 h 366"/>
                  <a:gd name="T96" fmla="*/ 251 w 332"/>
                  <a:gd name="T97" fmla="*/ 341 h 366"/>
                  <a:gd name="T98" fmla="*/ 252 w 332"/>
                  <a:gd name="T99" fmla="*/ 341 h 366"/>
                  <a:gd name="T100" fmla="*/ 253 w 332"/>
                  <a:gd name="T101" fmla="*/ 341 h 366"/>
                  <a:gd name="T102" fmla="*/ 259 w 332"/>
                  <a:gd name="T103" fmla="*/ 348 h 366"/>
                  <a:gd name="T104" fmla="*/ 259 w 332"/>
                  <a:gd name="T105" fmla="*/ 349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2" h="366">
                    <a:moveTo>
                      <a:pt x="267" y="347"/>
                    </a:moveTo>
                    <a:cubicBezTo>
                      <a:pt x="266" y="341"/>
                      <a:pt x="261" y="335"/>
                      <a:pt x="255" y="334"/>
                    </a:cubicBezTo>
                    <a:cubicBezTo>
                      <a:pt x="255" y="318"/>
                      <a:pt x="255" y="318"/>
                      <a:pt x="255" y="318"/>
                    </a:cubicBezTo>
                    <a:cubicBezTo>
                      <a:pt x="246" y="318"/>
                      <a:pt x="246" y="318"/>
                      <a:pt x="246" y="318"/>
                    </a:cubicBezTo>
                    <a:cubicBezTo>
                      <a:pt x="246" y="334"/>
                      <a:pt x="246" y="334"/>
                      <a:pt x="246" y="334"/>
                    </a:cubicBezTo>
                    <a:cubicBezTo>
                      <a:pt x="240" y="335"/>
                      <a:pt x="235" y="341"/>
                      <a:pt x="234" y="347"/>
                    </a:cubicBezTo>
                    <a:cubicBezTo>
                      <a:pt x="56" y="347"/>
                      <a:pt x="56" y="347"/>
                      <a:pt x="56" y="347"/>
                    </a:cubicBezTo>
                    <a:cubicBezTo>
                      <a:pt x="56" y="326"/>
                      <a:pt x="56" y="326"/>
                      <a:pt x="56" y="326"/>
                    </a:cubicBezTo>
                    <a:cubicBezTo>
                      <a:pt x="92" y="326"/>
                      <a:pt x="92" y="326"/>
                      <a:pt x="92" y="326"/>
                    </a:cubicBezTo>
                    <a:cubicBezTo>
                      <a:pt x="92" y="233"/>
                      <a:pt x="92" y="233"/>
                      <a:pt x="92" y="233"/>
                    </a:cubicBezTo>
                    <a:cubicBezTo>
                      <a:pt x="147" y="233"/>
                      <a:pt x="147" y="233"/>
                      <a:pt x="147" y="233"/>
                    </a:cubicBezTo>
                    <a:cubicBezTo>
                      <a:pt x="147" y="233"/>
                      <a:pt x="147" y="233"/>
                      <a:pt x="147" y="233"/>
                    </a:cubicBezTo>
                    <a:cubicBezTo>
                      <a:pt x="147" y="326"/>
                      <a:pt x="147" y="326"/>
                      <a:pt x="147" y="326"/>
                    </a:cubicBezTo>
                    <a:cubicBezTo>
                      <a:pt x="227" y="326"/>
                      <a:pt x="227" y="326"/>
                      <a:pt x="227" y="326"/>
                    </a:cubicBezTo>
                    <a:cubicBezTo>
                      <a:pt x="227" y="318"/>
                      <a:pt x="227" y="318"/>
                      <a:pt x="227" y="318"/>
                    </a:cubicBezTo>
                    <a:cubicBezTo>
                      <a:pt x="169" y="318"/>
                      <a:pt x="169" y="318"/>
                      <a:pt x="169" y="318"/>
                    </a:cubicBezTo>
                    <a:cubicBezTo>
                      <a:pt x="164" y="318"/>
                      <a:pt x="160" y="314"/>
                      <a:pt x="160" y="309"/>
                    </a:cubicBezTo>
                    <a:cubicBezTo>
                      <a:pt x="160" y="255"/>
                      <a:pt x="160" y="255"/>
                      <a:pt x="160" y="255"/>
                    </a:cubicBezTo>
                    <a:cubicBezTo>
                      <a:pt x="160" y="254"/>
                      <a:pt x="161" y="252"/>
                      <a:pt x="162" y="251"/>
                    </a:cubicBezTo>
                    <a:cubicBezTo>
                      <a:pt x="161" y="250"/>
                      <a:pt x="160" y="248"/>
                      <a:pt x="160" y="246"/>
                    </a:cubicBezTo>
                    <a:cubicBezTo>
                      <a:pt x="160" y="192"/>
                      <a:pt x="160" y="192"/>
                      <a:pt x="160" y="192"/>
                    </a:cubicBezTo>
                    <a:cubicBezTo>
                      <a:pt x="160" y="187"/>
                      <a:pt x="164" y="184"/>
                      <a:pt x="169" y="184"/>
                    </a:cubicBezTo>
                    <a:cubicBezTo>
                      <a:pt x="227" y="184"/>
                      <a:pt x="227" y="184"/>
                      <a:pt x="227" y="184"/>
                    </a:cubicBezTo>
                    <a:cubicBezTo>
                      <a:pt x="227" y="25"/>
                      <a:pt x="227" y="25"/>
                      <a:pt x="227" y="25"/>
                    </a:cubicBezTo>
                    <a:cubicBezTo>
                      <a:pt x="239" y="25"/>
                      <a:pt x="239" y="25"/>
                      <a:pt x="239" y="25"/>
                    </a:cubicBezTo>
                    <a:cubicBezTo>
                      <a:pt x="239" y="0"/>
                      <a:pt x="239" y="0"/>
                      <a:pt x="23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326"/>
                      <a:pt x="12" y="326"/>
                      <a:pt x="12" y="326"/>
                    </a:cubicBezTo>
                    <a:cubicBezTo>
                      <a:pt x="48" y="326"/>
                      <a:pt x="48" y="326"/>
                      <a:pt x="48" y="326"/>
                    </a:cubicBezTo>
                    <a:cubicBezTo>
                      <a:pt x="48" y="355"/>
                      <a:pt x="48" y="355"/>
                      <a:pt x="48" y="355"/>
                    </a:cubicBezTo>
                    <a:cubicBezTo>
                      <a:pt x="235" y="355"/>
                      <a:pt x="235" y="355"/>
                      <a:pt x="235" y="355"/>
                    </a:cubicBezTo>
                    <a:cubicBezTo>
                      <a:pt x="238" y="361"/>
                      <a:pt x="244" y="366"/>
                      <a:pt x="251" y="366"/>
                    </a:cubicBezTo>
                    <a:cubicBezTo>
                      <a:pt x="257" y="366"/>
                      <a:pt x="263" y="361"/>
                      <a:pt x="266" y="355"/>
                    </a:cubicBezTo>
                    <a:cubicBezTo>
                      <a:pt x="332" y="355"/>
                      <a:pt x="332" y="355"/>
                      <a:pt x="332" y="355"/>
                    </a:cubicBezTo>
                    <a:cubicBezTo>
                      <a:pt x="332" y="347"/>
                      <a:pt x="332" y="347"/>
                      <a:pt x="332" y="347"/>
                    </a:cubicBezTo>
                    <a:lnTo>
                      <a:pt x="267" y="347"/>
                    </a:lnTo>
                    <a:close/>
                    <a:moveTo>
                      <a:pt x="165" y="31"/>
                    </a:moveTo>
                    <a:cubicBezTo>
                      <a:pt x="209" y="31"/>
                      <a:pt x="209" y="31"/>
                      <a:pt x="209" y="31"/>
                    </a:cubicBezTo>
                    <a:cubicBezTo>
                      <a:pt x="209" y="74"/>
                      <a:pt x="209" y="74"/>
                      <a:pt x="209" y="74"/>
                    </a:cubicBezTo>
                    <a:cubicBezTo>
                      <a:pt x="165" y="74"/>
                      <a:pt x="165" y="74"/>
                      <a:pt x="165" y="74"/>
                    </a:cubicBezTo>
                    <a:lnTo>
                      <a:pt x="165" y="31"/>
                    </a:lnTo>
                    <a:close/>
                    <a:moveTo>
                      <a:pt x="165" y="92"/>
                    </a:moveTo>
                    <a:cubicBezTo>
                      <a:pt x="209" y="92"/>
                      <a:pt x="209" y="92"/>
                      <a:pt x="209" y="92"/>
                    </a:cubicBezTo>
                    <a:cubicBezTo>
                      <a:pt x="209" y="135"/>
                      <a:pt x="209" y="135"/>
                      <a:pt x="209" y="135"/>
                    </a:cubicBezTo>
                    <a:cubicBezTo>
                      <a:pt x="165" y="135"/>
                      <a:pt x="165" y="135"/>
                      <a:pt x="165" y="135"/>
                    </a:cubicBezTo>
                    <a:lnTo>
                      <a:pt x="165" y="92"/>
                    </a:lnTo>
                    <a:close/>
                    <a:moveTo>
                      <a:pt x="98" y="31"/>
                    </a:moveTo>
                    <a:cubicBezTo>
                      <a:pt x="141" y="31"/>
                      <a:pt x="141" y="31"/>
                      <a:pt x="141" y="31"/>
                    </a:cubicBezTo>
                    <a:cubicBezTo>
                      <a:pt x="141" y="74"/>
                      <a:pt x="141" y="74"/>
                      <a:pt x="141" y="74"/>
                    </a:cubicBezTo>
                    <a:cubicBezTo>
                      <a:pt x="98" y="74"/>
                      <a:pt x="98" y="74"/>
                      <a:pt x="98" y="74"/>
                    </a:cubicBezTo>
                    <a:lnTo>
                      <a:pt x="98" y="31"/>
                    </a:lnTo>
                    <a:close/>
                    <a:moveTo>
                      <a:pt x="98" y="92"/>
                    </a:moveTo>
                    <a:cubicBezTo>
                      <a:pt x="141" y="92"/>
                      <a:pt x="141" y="92"/>
                      <a:pt x="141" y="92"/>
                    </a:cubicBezTo>
                    <a:cubicBezTo>
                      <a:pt x="141" y="135"/>
                      <a:pt x="141" y="135"/>
                      <a:pt x="141" y="135"/>
                    </a:cubicBezTo>
                    <a:cubicBezTo>
                      <a:pt x="98" y="135"/>
                      <a:pt x="98" y="135"/>
                      <a:pt x="98" y="135"/>
                    </a:cubicBezTo>
                    <a:lnTo>
                      <a:pt x="98" y="92"/>
                    </a:lnTo>
                    <a:close/>
                    <a:moveTo>
                      <a:pt x="30" y="31"/>
                    </a:moveTo>
                    <a:cubicBezTo>
                      <a:pt x="74" y="31"/>
                      <a:pt x="74" y="31"/>
                      <a:pt x="74" y="31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30" y="74"/>
                      <a:pt x="30" y="74"/>
                      <a:pt x="30" y="74"/>
                    </a:cubicBezTo>
                    <a:lnTo>
                      <a:pt x="30" y="31"/>
                    </a:lnTo>
                    <a:close/>
                    <a:moveTo>
                      <a:pt x="30" y="135"/>
                    </a:moveTo>
                    <a:cubicBezTo>
                      <a:pt x="30" y="92"/>
                      <a:pt x="30" y="92"/>
                      <a:pt x="30" y="9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74" y="135"/>
                      <a:pt x="74" y="135"/>
                      <a:pt x="74" y="135"/>
                    </a:cubicBezTo>
                    <a:lnTo>
                      <a:pt x="30" y="135"/>
                    </a:lnTo>
                    <a:close/>
                    <a:moveTo>
                      <a:pt x="259" y="350"/>
                    </a:moveTo>
                    <a:cubicBezTo>
                      <a:pt x="259" y="350"/>
                      <a:pt x="259" y="351"/>
                      <a:pt x="259" y="351"/>
                    </a:cubicBezTo>
                    <a:cubicBezTo>
                      <a:pt x="259" y="351"/>
                      <a:pt x="259" y="351"/>
                      <a:pt x="259" y="351"/>
                    </a:cubicBezTo>
                    <a:cubicBezTo>
                      <a:pt x="259" y="351"/>
                      <a:pt x="259" y="351"/>
                      <a:pt x="259" y="352"/>
                    </a:cubicBezTo>
                    <a:cubicBezTo>
                      <a:pt x="259" y="352"/>
                      <a:pt x="259" y="352"/>
                      <a:pt x="259" y="352"/>
                    </a:cubicBezTo>
                    <a:cubicBezTo>
                      <a:pt x="259" y="352"/>
                      <a:pt x="259" y="352"/>
                      <a:pt x="258" y="353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58" y="353"/>
                      <a:pt x="258" y="353"/>
                      <a:pt x="258" y="353"/>
                    </a:cubicBezTo>
                    <a:cubicBezTo>
                      <a:pt x="258" y="354"/>
                      <a:pt x="257" y="355"/>
                      <a:pt x="257" y="355"/>
                    </a:cubicBezTo>
                    <a:cubicBezTo>
                      <a:pt x="255" y="357"/>
                      <a:pt x="253" y="358"/>
                      <a:pt x="251" y="358"/>
                    </a:cubicBezTo>
                    <a:cubicBezTo>
                      <a:pt x="248" y="358"/>
                      <a:pt x="246" y="357"/>
                      <a:pt x="244" y="355"/>
                    </a:cubicBezTo>
                    <a:cubicBezTo>
                      <a:pt x="244" y="355"/>
                      <a:pt x="243" y="354"/>
                      <a:pt x="243" y="353"/>
                    </a:cubicBezTo>
                    <a:cubicBezTo>
                      <a:pt x="243" y="353"/>
                      <a:pt x="243" y="353"/>
                      <a:pt x="243" y="353"/>
                    </a:cubicBezTo>
                    <a:cubicBezTo>
                      <a:pt x="242" y="352"/>
                      <a:pt x="242" y="352"/>
                      <a:pt x="242" y="352"/>
                    </a:cubicBezTo>
                    <a:cubicBezTo>
                      <a:pt x="242" y="352"/>
                      <a:pt x="242" y="352"/>
                      <a:pt x="242" y="352"/>
                    </a:cubicBezTo>
                    <a:cubicBezTo>
                      <a:pt x="242" y="352"/>
                      <a:pt x="242" y="351"/>
                      <a:pt x="242" y="351"/>
                    </a:cubicBezTo>
                    <a:cubicBezTo>
                      <a:pt x="242" y="351"/>
                      <a:pt x="242" y="351"/>
                      <a:pt x="242" y="351"/>
                    </a:cubicBezTo>
                    <a:cubicBezTo>
                      <a:pt x="242" y="351"/>
                      <a:pt x="242" y="350"/>
                      <a:pt x="242" y="350"/>
                    </a:cubicBezTo>
                    <a:cubicBezTo>
                      <a:pt x="242" y="350"/>
                      <a:pt x="242" y="350"/>
                      <a:pt x="242" y="349"/>
                    </a:cubicBezTo>
                    <a:cubicBezTo>
                      <a:pt x="242" y="349"/>
                      <a:pt x="242" y="349"/>
                      <a:pt x="242" y="348"/>
                    </a:cubicBezTo>
                    <a:cubicBezTo>
                      <a:pt x="242" y="348"/>
                      <a:pt x="242" y="348"/>
                      <a:pt x="242" y="348"/>
                    </a:cubicBezTo>
                    <a:cubicBezTo>
                      <a:pt x="242" y="348"/>
                      <a:pt x="242" y="347"/>
                      <a:pt x="242" y="347"/>
                    </a:cubicBezTo>
                    <a:cubicBezTo>
                      <a:pt x="243" y="345"/>
                      <a:pt x="244" y="343"/>
                      <a:pt x="246" y="342"/>
                    </a:cubicBezTo>
                    <a:cubicBezTo>
                      <a:pt x="246" y="342"/>
                      <a:pt x="246" y="342"/>
                      <a:pt x="246" y="342"/>
                    </a:cubicBezTo>
                    <a:cubicBezTo>
                      <a:pt x="247" y="342"/>
                      <a:pt x="247" y="341"/>
                      <a:pt x="248" y="341"/>
                    </a:cubicBezTo>
                    <a:cubicBezTo>
                      <a:pt x="248" y="341"/>
                      <a:pt x="248" y="341"/>
                      <a:pt x="248" y="341"/>
                    </a:cubicBezTo>
                    <a:cubicBezTo>
                      <a:pt x="248" y="341"/>
                      <a:pt x="249" y="341"/>
                      <a:pt x="249" y="341"/>
                    </a:cubicBezTo>
                    <a:cubicBezTo>
                      <a:pt x="249" y="341"/>
                      <a:pt x="249" y="341"/>
                      <a:pt x="249" y="341"/>
                    </a:cubicBezTo>
                    <a:cubicBezTo>
                      <a:pt x="250" y="341"/>
                      <a:pt x="250" y="341"/>
                      <a:pt x="251" y="341"/>
                    </a:cubicBezTo>
                    <a:cubicBezTo>
                      <a:pt x="251" y="341"/>
                      <a:pt x="251" y="341"/>
                      <a:pt x="252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3" y="341"/>
                      <a:pt x="253" y="341"/>
                      <a:pt x="253" y="341"/>
                    </a:cubicBezTo>
                    <a:cubicBezTo>
                      <a:pt x="253" y="341"/>
                      <a:pt x="253" y="341"/>
                      <a:pt x="253" y="341"/>
                    </a:cubicBezTo>
                    <a:cubicBezTo>
                      <a:pt x="256" y="342"/>
                      <a:pt x="258" y="344"/>
                      <a:pt x="259" y="347"/>
                    </a:cubicBezTo>
                    <a:cubicBezTo>
                      <a:pt x="259" y="347"/>
                      <a:pt x="259" y="348"/>
                      <a:pt x="259" y="348"/>
                    </a:cubicBezTo>
                    <a:cubicBezTo>
                      <a:pt x="259" y="348"/>
                      <a:pt x="259" y="348"/>
                      <a:pt x="259" y="348"/>
                    </a:cubicBezTo>
                    <a:cubicBezTo>
                      <a:pt x="259" y="349"/>
                      <a:pt x="259" y="349"/>
                      <a:pt x="259" y="349"/>
                    </a:cubicBezTo>
                    <a:cubicBezTo>
                      <a:pt x="259" y="350"/>
                      <a:pt x="259" y="350"/>
                      <a:pt x="259" y="3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" name="Freeform 19">
                <a:extLst>
                  <a:ext uri="{FF2B5EF4-FFF2-40B4-BE49-F238E27FC236}">
                    <a16:creationId xmlns:a16="http://schemas.microsoft.com/office/drawing/2014/main" id="{714F5EC4-6115-4E06-BB87-194E74BD12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72410" y="4048851"/>
                <a:ext cx="273050" cy="88900"/>
              </a:xfrm>
              <a:custGeom>
                <a:avLst/>
                <a:gdLst>
                  <a:gd name="T0" fmla="*/ 163 w 163"/>
                  <a:gd name="T1" fmla="*/ 0 h 54"/>
                  <a:gd name="T2" fmla="*/ 0 w 163"/>
                  <a:gd name="T3" fmla="*/ 0 h 54"/>
                  <a:gd name="T4" fmla="*/ 0 w 163"/>
                  <a:gd name="T5" fmla="*/ 54 h 54"/>
                  <a:gd name="T6" fmla="*/ 163 w 163"/>
                  <a:gd name="T7" fmla="*/ 54 h 54"/>
                  <a:gd name="T8" fmla="*/ 163 w 163"/>
                  <a:gd name="T9" fmla="*/ 0 h 54"/>
                  <a:gd name="T10" fmla="*/ 28 w 163"/>
                  <a:gd name="T11" fmla="*/ 38 h 54"/>
                  <a:gd name="T12" fmla="*/ 17 w 163"/>
                  <a:gd name="T13" fmla="*/ 27 h 54"/>
                  <a:gd name="T14" fmla="*/ 28 w 163"/>
                  <a:gd name="T15" fmla="*/ 17 h 54"/>
                  <a:gd name="T16" fmla="*/ 39 w 163"/>
                  <a:gd name="T17" fmla="*/ 27 h 54"/>
                  <a:gd name="T18" fmla="*/ 28 w 163"/>
                  <a:gd name="T19" fmla="*/ 38 h 54"/>
                  <a:gd name="T20" fmla="*/ 146 w 163"/>
                  <a:gd name="T21" fmla="*/ 31 h 54"/>
                  <a:gd name="T22" fmla="*/ 57 w 163"/>
                  <a:gd name="T23" fmla="*/ 31 h 54"/>
                  <a:gd name="T24" fmla="*/ 53 w 163"/>
                  <a:gd name="T25" fmla="*/ 27 h 54"/>
                  <a:gd name="T26" fmla="*/ 57 w 163"/>
                  <a:gd name="T27" fmla="*/ 23 h 54"/>
                  <a:gd name="T28" fmla="*/ 146 w 163"/>
                  <a:gd name="T29" fmla="*/ 23 h 54"/>
                  <a:gd name="T30" fmla="*/ 150 w 163"/>
                  <a:gd name="T31" fmla="*/ 27 h 54"/>
                  <a:gd name="T32" fmla="*/ 146 w 163"/>
                  <a:gd name="T33" fmla="*/ 3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3" h="54">
                    <a:moveTo>
                      <a:pt x="16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63" y="54"/>
                      <a:pt x="163" y="54"/>
                      <a:pt x="163" y="54"/>
                    </a:cubicBezTo>
                    <a:lnTo>
                      <a:pt x="163" y="0"/>
                    </a:lnTo>
                    <a:close/>
                    <a:moveTo>
                      <a:pt x="28" y="38"/>
                    </a:moveTo>
                    <a:cubicBezTo>
                      <a:pt x="22" y="38"/>
                      <a:pt x="17" y="33"/>
                      <a:pt x="17" y="27"/>
                    </a:cubicBezTo>
                    <a:cubicBezTo>
                      <a:pt x="17" y="21"/>
                      <a:pt x="22" y="17"/>
                      <a:pt x="28" y="17"/>
                    </a:cubicBezTo>
                    <a:cubicBezTo>
                      <a:pt x="34" y="17"/>
                      <a:pt x="39" y="21"/>
                      <a:pt x="39" y="27"/>
                    </a:cubicBezTo>
                    <a:cubicBezTo>
                      <a:pt x="39" y="33"/>
                      <a:pt x="34" y="38"/>
                      <a:pt x="28" y="38"/>
                    </a:cubicBezTo>
                    <a:close/>
                    <a:moveTo>
                      <a:pt x="146" y="31"/>
                    </a:moveTo>
                    <a:cubicBezTo>
                      <a:pt x="57" y="31"/>
                      <a:pt x="57" y="31"/>
                      <a:pt x="57" y="31"/>
                    </a:cubicBezTo>
                    <a:cubicBezTo>
                      <a:pt x="55" y="31"/>
                      <a:pt x="53" y="30"/>
                      <a:pt x="53" y="27"/>
                    </a:cubicBezTo>
                    <a:cubicBezTo>
                      <a:pt x="53" y="25"/>
                      <a:pt x="55" y="23"/>
                      <a:pt x="57" y="23"/>
                    </a:cubicBezTo>
                    <a:cubicBezTo>
                      <a:pt x="146" y="23"/>
                      <a:pt x="146" y="23"/>
                      <a:pt x="146" y="23"/>
                    </a:cubicBezTo>
                    <a:cubicBezTo>
                      <a:pt x="148" y="23"/>
                      <a:pt x="150" y="25"/>
                      <a:pt x="150" y="27"/>
                    </a:cubicBezTo>
                    <a:cubicBezTo>
                      <a:pt x="150" y="30"/>
                      <a:pt x="148" y="31"/>
                      <a:pt x="14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" name="Freeform 20">
                <a:extLst>
                  <a:ext uri="{FF2B5EF4-FFF2-40B4-BE49-F238E27FC236}">
                    <a16:creationId xmlns:a16="http://schemas.microsoft.com/office/drawing/2014/main" id="{F94EAB15-8857-449F-824A-0FF33858B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68441" y="4154653"/>
                <a:ext cx="273050" cy="90487"/>
              </a:xfrm>
              <a:custGeom>
                <a:avLst/>
                <a:gdLst>
                  <a:gd name="T0" fmla="*/ 0 w 163"/>
                  <a:gd name="T1" fmla="*/ 54 h 54"/>
                  <a:gd name="T2" fmla="*/ 163 w 163"/>
                  <a:gd name="T3" fmla="*/ 54 h 54"/>
                  <a:gd name="T4" fmla="*/ 163 w 163"/>
                  <a:gd name="T5" fmla="*/ 0 h 54"/>
                  <a:gd name="T6" fmla="*/ 0 w 163"/>
                  <a:gd name="T7" fmla="*/ 0 h 54"/>
                  <a:gd name="T8" fmla="*/ 0 w 163"/>
                  <a:gd name="T9" fmla="*/ 54 h 54"/>
                  <a:gd name="T10" fmla="*/ 58 w 163"/>
                  <a:gd name="T11" fmla="*/ 23 h 54"/>
                  <a:gd name="T12" fmla="*/ 146 w 163"/>
                  <a:gd name="T13" fmla="*/ 23 h 54"/>
                  <a:gd name="T14" fmla="*/ 150 w 163"/>
                  <a:gd name="T15" fmla="*/ 27 h 54"/>
                  <a:gd name="T16" fmla="*/ 146 w 163"/>
                  <a:gd name="T17" fmla="*/ 31 h 54"/>
                  <a:gd name="T18" fmla="*/ 58 w 163"/>
                  <a:gd name="T19" fmla="*/ 31 h 54"/>
                  <a:gd name="T20" fmla="*/ 53 w 163"/>
                  <a:gd name="T21" fmla="*/ 27 h 54"/>
                  <a:gd name="T22" fmla="*/ 58 w 163"/>
                  <a:gd name="T23" fmla="*/ 23 h 54"/>
                  <a:gd name="T24" fmla="*/ 28 w 163"/>
                  <a:gd name="T25" fmla="*/ 16 h 54"/>
                  <a:gd name="T26" fmla="*/ 39 w 163"/>
                  <a:gd name="T27" fmla="*/ 27 h 54"/>
                  <a:gd name="T28" fmla="*/ 28 w 163"/>
                  <a:gd name="T29" fmla="*/ 38 h 54"/>
                  <a:gd name="T30" fmla="*/ 17 w 163"/>
                  <a:gd name="T31" fmla="*/ 27 h 54"/>
                  <a:gd name="T32" fmla="*/ 28 w 163"/>
                  <a:gd name="T33" fmla="*/ 1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3" h="54">
                    <a:moveTo>
                      <a:pt x="0" y="54"/>
                    </a:moveTo>
                    <a:cubicBezTo>
                      <a:pt x="163" y="54"/>
                      <a:pt x="163" y="54"/>
                      <a:pt x="163" y="54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54"/>
                    </a:lnTo>
                    <a:close/>
                    <a:moveTo>
                      <a:pt x="58" y="23"/>
                    </a:moveTo>
                    <a:cubicBezTo>
                      <a:pt x="146" y="23"/>
                      <a:pt x="146" y="23"/>
                      <a:pt x="146" y="23"/>
                    </a:cubicBezTo>
                    <a:cubicBezTo>
                      <a:pt x="148" y="23"/>
                      <a:pt x="150" y="25"/>
                      <a:pt x="150" y="27"/>
                    </a:cubicBezTo>
                    <a:cubicBezTo>
                      <a:pt x="150" y="29"/>
                      <a:pt x="148" y="31"/>
                      <a:pt x="146" y="31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5" y="31"/>
                      <a:pt x="53" y="29"/>
                      <a:pt x="53" y="27"/>
                    </a:cubicBezTo>
                    <a:cubicBezTo>
                      <a:pt x="53" y="25"/>
                      <a:pt x="55" y="23"/>
                      <a:pt x="58" y="23"/>
                    </a:cubicBezTo>
                    <a:close/>
                    <a:moveTo>
                      <a:pt x="28" y="16"/>
                    </a:moveTo>
                    <a:cubicBezTo>
                      <a:pt x="34" y="16"/>
                      <a:pt x="39" y="21"/>
                      <a:pt x="39" y="27"/>
                    </a:cubicBezTo>
                    <a:cubicBezTo>
                      <a:pt x="39" y="33"/>
                      <a:pt x="34" y="38"/>
                      <a:pt x="28" y="38"/>
                    </a:cubicBezTo>
                    <a:cubicBezTo>
                      <a:pt x="22" y="38"/>
                      <a:pt x="17" y="33"/>
                      <a:pt x="17" y="27"/>
                    </a:cubicBezTo>
                    <a:cubicBezTo>
                      <a:pt x="17" y="21"/>
                      <a:pt x="22" y="16"/>
                      <a:pt x="2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72" name="Gruppierung 36">
              <a:extLst>
                <a:ext uri="{FF2B5EF4-FFF2-40B4-BE49-F238E27FC236}">
                  <a16:creationId xmlns:a16="http://schemas.microsoft.com/office/drawing/2014/main" id="{01895106-E985-4C16-9818-1B4CD3160C5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62593" y="4924044"/>
              <a:ext cx="566624" cy="548643"/>
              <a:chOff x="-2553617" y="3636165"/>
              <a:chExt cx="600072" cy="581029"/>
            </a:xfrm>
            <a:solidFill>
              <a:schemeClr val="tx2"/>
            </a:solidFill>
          </p:grpSpPr>
          <p:sp>
            <p:nvSpPr>
              <p:cNvPr id="73" name="Freeform 103">
                <a:extLst>
                  <a:ext uri="{FF2B5EF4-FFF2-40B4-BE49-F238E27FC236}">
                    <a16:creationId xmlns:a16="http://schemas.microsoft.com/office/drawing/2014/main" id="{CC7C9495-D1AE-4AC4-9CF7-60B54ABE76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553617" y="3636165"/>
                <a:ext cx="398463" cy="361950"/>
              </a:xfrm>
              <a:custGeom>
                <a:avLst/>
                <a:gdLst>
                  <a:gd name="T0" fmla="*/ 118 w 236"/>
                  <a:gd name="T1" fmla="*/ 0 h 215"/>
                  <a:gd name="T2" fmla="*/ 42 w 236"/>
                  <a:gd name="T3" fmla="*/ 31 h 215"/>
                  <a:gd name="T4" fmla="*/ 42 w 236"/>
                  <a:gd name="T5" fmla="*/ 184 h 215"/>
                  <a:gd name="T6" fmla="*/ 118 w 236"/>
                  <a:gd name="T7" fmla="*/ 215 h 215"/>
                  <a:gd name="T8" fmla="*/ 194 w 236"/>
                  <a:gd name="T9" fmla="*/ 184 h 215"/>
                  <a:gd name="T10" fmla="*/ 194 w 236"/>
                  <a:gd name="T11" fmla="*/ 31 h 215"/>
                  <a:gd name="T12" fmla="*/ 118 w 236"/>
                  <a:gd name="T13" fmla="*/ 0 h 215"/>
                  <a:gd name="T14" fmla="*/ 169 w 236"/>
                  <a:gd name="T15" fmla="*/ 158 h 215"/>
                  <a:gd name="T16" fmla="*/ 118 w 236"/>
                  <a:gd name="T17" fmla="*/ 179 h 215"/>
                  <a:gd name="T18" fmla="*/ 67 w 236"/>
                  <a:gd name="T19" fmla="*/ 158 h 215"/>
                  <a:gd name="T20" fmla="*/ 67 w 236"/>
                  <a:gd name="T21" fmla="*/ 57 h 215"/>
                  <a:gd name="T22" fmla="*/ 118 w 236"/>
                  <a:gd name="T23" fmla="*/ 36 h 215"/>
                  <a:gd name="T24" fmla="*/ 169 w 236"/>
                  <a:gd name="T25" fmla="*/ 57 h 215"/>
                  <a:gd name="T26" fmla="*/ 169 w 236"/>
                  <a:gd name="T27" fmla="*/ 15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" h="215">
                    <a:moveTo>
                      <a:pt x="118" y="0"/>
                    </a:moveTo>
                    <a:cubicBezTo>
                      <a:pt x="91" y="0"/>
                      <a:pt x="63" y="10"/>
                      <a:pt x="42" y="31"/>
                    </a:cubicBezTo>
                    <a:cubicBezTo>
                      <a:pt x="0" y="73"/>
                      <a:pt x="0" y="142"/>
                      <a:pt x="42" y="184"/>
                    </a:cubicBezTo>
                    <a:cubicBezTo>
                      <a:pt x="63" y="205"/>
                      <a:pt x="91" y="215"/>
                      <a:pt x="118" y="215"/>
                    </a:cubicBezTo>
                    <a:cubicBezTo>
                      <a:pt x="146" y="215"/>
                      <a:pt x="173" y="205"/>
                      <a:pt x="194" y="184"/>
                    </a:cubicBezTo>
                    <a:cubicBezTo>
                      <a:pt x="236" y="142"/>
                      <a:pt x="236" y="73"/>
                      <a:pt x="194" y="31"/>
                    </a:cubicBezTo>
                    <a:cubicBezTo>
                      <a:pt x="173" y="10"/>
                      <a:pt x="146" y="0"/>
                      <a:pt x="118" y="0"/>
                    </a:cubicBezTo>
                    <a:close/>
                    <a:moveTo>
                      <a:pt x="169" y="158"/>
                    </a:moveTo>
                    <a:cubicBezTo>
                      <a:pt x="155" y="172"/>
                      <a:pt x="136" y="179"/>
                      <a:pt x="118" y="179"/>
                    </a:cubicBezTo>
                    <a:cubicBezTo>
                      <a:pt x="100" y="179"/>
                      <a:pt x="81" y="172"/>
                      <a:pt x="67" y="158"/>
                    </a:cubicBezTo>
                    <a:cubicBezTo>
                      <a:pt x="39" y="130"/>
                      <a:pt x="39" y="85"/>
                      <a:pt x="67" y="57"/>
                    </a:cubicBezTo>
                    <a:cubicBezTo>
                      <a:pt x="81" y="43"/>
                      <a:pt x="100" y="36"/>
                      <a:pt x="118" y="36"/>
                    </a:cubicBezTo>
                    <a:cubicBezTo>
                      <a:pt x="136" y="36"/>
                      <a:pt x="155" y="43"/>
                      <a:pt x="169" y="57"/>
                    </a:cubicBezTo>
                    <a:cubicBezTo>
                      <a:pt x="197" y="85"/>
                      <a:pt x="197" y="130"/>
                      <a:pt x="169" y="1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4" name="Freeform 104">
                <a:extLst>
                  <a:ext uri="{FF2B5EF4-FFF2-40B4-BE49-F238E27FC236}">
                    <a16:creationId xmlns:a16="http://schemas.microsoft.com/office/drawing/2014/main" id="{9531B67E-23BC-40E7-AFEE-43EB13FF2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44058" y="3929858"/>
                <a:ext cx="290513" cy="287336"/>
              </a:xfrm>
              <a:custGeom>
                <a:avLst/>
                <a:gdLst>
                  <a:gd name="T0" fmla="*/ 155 w 172"/>
                  <a:gd name="T1" fmla="*/ 117 h 171"/>
                  <a:gd name="T2" fmla="*/ 37 w 172"/>
                  <a:gd name="T3" fmla="*/ 0 h 171"/>
                  <a:gd name="T4" fmla="*/ 21 w 172"/>
                  <a:gd name="T5" fmla="*/ 20 h 171"/>
                  <a:gd name="T6" fmla="*/ 0 w 172"/>
                  <a:gd name="T7" fmla="*/ 37 h 171"/>
                  <a:gd name="T8" fmla="*/ 118 w 172"/>
                  <a:gd name="T9" fmla="*/ 154 h 171"/>
                  <a:gd name="T10" fmla="*/ 155 w 172"/>
                  <a:gd name="T11" fmla="*/ 117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2" h="171">
                    <a:moveTo>
                      <a:pt x="155" y="117"/>
                    </a:moveTo>
                    <a:cubicBezTo>
                      <a:pt x="130" y="94"/>
                      <a:pt x="70" y="33"/>
                      <a:pt x="37" y="0"/>
                    </a:cubicBezTo>
                    <a:cubicBezTo>
                      <a:pt x="33" y="7"/>
                      <a:pt x="27" y="14"/>
                      <a:pt x="21" y="20"/>
                    </a:cubicBezTo>
                    <a:cubicBezTo>
                      <a:pt x="15" y="27"/>
                      <a:pt x="8" y="32"/>
                      <a:pt x="0" y="37"/>
                    </a:cubicBezTo>
                    <a:cubicBezTo>
                      <a:pt x="34" y="71"/>
                      <a:pt x="96" y="133"/>
                      <a:pt x="118" y="154"/>
                    </a:cubicBezTo>
                    <a:cubicBezTo>
                      <a:pt x="136" y="171"/>
                      <a:pt x="172" y="133"/>
                      <a:pt x="15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0372D31-0B91-4754-BB47-AFEB5232BC4D}"/>
                </a:ext>
              </a:extLst>
            </p:cNvPr>
            <p:cNvSpPr txBox="1"/>
            <p:nvPr/>
          </p:nvSpPr>
          <p:spPr>
            <a:xfrm>
              <a:off x="950338" y="5931871"/>
              <a:ext cx="2277770" cy="90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Costs were kept low through a scalable, user-driven experience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8102CEAC-BEAC-4072-9848-0D2D809D9AAC}"/>
                </a:ext>
              </a:extLst>
            </p:cNvPr>
            <p:cNvCxnSpPr>
              <a:cxnSpLocks/>
            </p:cNvCxnSpPr>
            <p:nvPr/>
          </p:nvCxnSpPr>
          <p:spPr>
            <a:xfrm>
              <a:off x="3070097" y="4789306"/>
              <a:ext cx="0" cy="1966664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A4EDEBF1-F507-4D7D-8728-421264F341D0}"/>
                </a:ext>
              </a:extLst>
            </p:cNvPr>
            <p:cNvCxnSpPr>
              <a:cxnSpLocks/>
            </p:cNvCxnSpPr>
            <p:nvPr/>
          </p:nvCxnSpPr>
          <p:spPr>
            <a:xfrm>
              <a:off x="142596" y="5752174"/>
              <a:ext cx="5953404" cy="20464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5">
              <a:extLst>
                <a:ext uri="{FF2B5EF4-FFF2-40B4-BE49-F238E27FC236}">
                  <a16:creationId xmlns:a16="http://schemas.microsoft.com/office/drawing/2014/main" id="{8569E110-1ED0-6347-BCB5-C8EA29133B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719" y="1332179"/>
              <a:ext cx="2488067" cy="359348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91440" rIns="0" bIns="91440" anchor="t">
              <a:no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Goals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DDF5143-4B5B-F647-8EA3-5B0BC9BA3E25}"/>
                </a:ext>
              </a:extLst>
            </p:cNvPr>
            <p:cNvCxnSpPr>
              <a:cxnSpLocks/>
            </p:cNvCxnSpPr>
            <p:nvPr/>
          </p:nvCxnSpPr>
          <p:spPr>
            <a:xfrm>
              <a:off x="356616" y="1749388"/>
              <a:ext cx="4197551" cy="0"/>
            </a:xfrm>
            <a:prstGeom prst="line">
              <a:avLst/>
            </a:prstGeom>
            <a:ln w="28575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tangle 5">
              <a:extLst>
                <a:ext uri="{FF2B5EF4-FFF2-40B4-BE49-F238E27FC236}">
                  <a16:creationId xmlns:a16="http://schemas.microsoft.com/office/drawing/2014/main" id="{122216B3-802F-8940-A495-56AD4E004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74" y="4322962"/>
              <a:ext cx="3692749" cy="359348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91440" rIns="0" bIns="91440" anchor="t">
              <a:noAutofit/>
            </a:bodyPr>
            <a:lstStyle/>
            <a:p>
              <a:r>
                <a:rPr lang="en-US" b="1" dirty="0">
                  <a:solidFill>
                    <a:schemeClr val="tx2"/>
                  </a:solidFill>
                </a:rPr>
                <a:t>Results</a:t>
              </a:r>
            </a:p>
          </p:txBody>
        </p:sp>
        <p:pic>
          <p:nvPicPr>
            <p:cNvPr id="91" name="Picture 90" descr="A picture containing object, drawing, room&#10;&#10;Description automatically generated">
              <a:extLst>
                <a:ext uri="{FF2B5EF4-FFF2-40B4-BE49-F238E27FC236}">
                  <a16:creationId xmlns:a16="http://schemas.microsoft.com/office/drawing/2014/main" id="{2962E3A4-63E2-9347-8FCC-616BA9945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16" y="1997090"/>
              <a:ext cx="457200" cy="457200"/>
            </a:xfrm>
            <a:prstGeom prst="rect">
              <a:avLst/>
            </a:prstGeom>
          </p:spPr>
        </p:pic>
        <p:pic>
          <p:nvPicPr>
            <p:cNvPr id="92" name="Picture 91" descr="A close up of a sign&#10;&#10;Description automatically generated">
              <a:extLst>
                <a:ext uri="{FF2B5EF4-FFF2-40B4-BE49-F238E27FC236}">
                  <a16:creationId xmlns:a16="http://schemas.microsoft.com/office/drawing/2014/main" id="{988F3DF8-175B-434A-812A-DF2E7233D14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16" y="3528438"/>
              <a:ext cx="457200" cy="457200"/>
            </a:xfrm>
            <a:prstGeom prst="rect">
              <a:avLst/>
            </a:prstGeom>
          </p:spPr>
        </p:pic>
        <p:pic>
          <p:nvPicPr>
            <p:cNvPr id="93" name="Picture 92" descr="A close up of a logo&#10;&#10;Description automatically generated">
              <a:extLst>
                <a:ext uri="{FF2B5EF4-FFF2-40B4-BE49-F238E27FC236}">
                  <a16:creationId xmlns:a16="http://schemas.microsoft.com/office/drawing/2014/main" id="{5BD18441-E35D-724E-B8A3-CBE32850C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16" y="2753108"/>
              <a:ext cx="457200" cy="457200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8AC94206-1B43-754F-B4B7-789607FE16C3}"/>
                </a:ext>
              </a:extLst>
            </p:cNvPr>
            <p:cNvSpPr txBox="1"/>
            <p:nvPr/>
          </p:nvSpPr>
          <p:spPr>
            <a:xfrm>
              <a:off x="950338" y="5067851"/>
              <a:ext cx="2277770" cy="6848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User inputs allowed for dynamic variables </a:t>
              </a: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79A2BF5E-71F4-9542-A1AB-D32EF4582A6B}"/>
                </a:ext>
              </a:extLst>
            </p:cNvPr>
            <p:cNvSpPr txBox="1"/>
            <p:nvPr/>
          </p:nvSpPr>
          <p:spPr>
            <a:xfrm>
              <a:off x="4013923" y="5918401"/>
              <a:ext cx="2277770" cy="9002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Dashboard successfully reflected user-specific Monte Carlo simulation</a:t>
              </a: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7AAA3941-EE5D-BA4C-9737-F19A1EE7A22D}"/>
                </a:ext>
              </a:extLst>
            </p:cNvPr>
            <p:cNvSpPr txBox="1"/>
            <p:nvPr/>
          </p:nvSpPr>
          <p:spPr>
            <a:xfrm>
              <a:off x="4013923" y="5067850"/>
              <a:ext cx="2277770" cy="6848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400" b="1" dirty="0">
                  <a:solidFill>
                    <a:schemeClr val="accent1"/>
                  </a:solidFill>
                </a:rPr>
                <a:t>Zero code manipulation required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>
                <a:spcAft>
                  <a:spcPts val="300"/>
                </a:spcAft>
              </a:pPr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5" name="Freeform 128">
            <a:extLst>
              <a:ext uri="{FF2B5EF4-FFF2-40B4-BE49-F238E27FC236}">
                <a16:creationId xmlns:a16="http://schemas.microsoft.com/office/drawing/2014/main" id="{DF76DD66-79DB-4076-84D2-A77654B091DE}"/>
              </a:ext>
            </a:extLst>
          </p:cNvPr>
          <p:cNvSpPr>
            <a:spLocks noEditPoints="1"/>
          </p:cNvSpPr>
          <p:nvPr/>
        </p:nvSpPr>
        <p:spPr bwMode="auto">
          <a:xfrm>
            <a:off x="3304596" y="5654065"/>
            <a:ext cx="551521" cy="462241"/>
          </a:xfrm>
          <a:custGeom>
            <a:avLst/>
            <a:gdLst>
              <a:gd name="T0" fmla="*/ 350 w 364"/>
              <a:gd name="T1" fmla="*/ 0 h 305"/>
              <a:gd name="T2" fmla="*/ 15 w 364"/>
              <a:gd name="T3" fmla="*/ 0 h 305"/>
              <a:gd name="T4" fmla="*/ 0 w 364"/>
              <a:gd name="T5" fmla="*/ 14 h 305"/>
              <a:gd name="T6" fmla="*/ 0 w 364"/>
              <a:gd name="T7" fmla="*/ 291 h 305"/>
              <a:gd name="T8" fmla="*/ 15 w 364"/>
              <a:gd name="T9" fmla="*/ 305 h 305"/>
              <a:gd name="T10" fmla="*/ 350 w 364"/>
              <a:gd name="T11" fmla="*/ 305 h 305"/>
              <a:gd name="T12" fmla="*/ 364 w 364"/>
              <a:gd name="T13" fmla="*/ 291 h 305"/>
              <a:gd name="T14" fmla="*/ 364 w 364"/>
              <a:gd name="T15" fmla="*/ 14 h 305"/>
              <a:gd name="T16" fmla="*/ 350 w 364"/>
              <a:gd name="T17" fmla="*/ 0 h 305"/>
              <a:gd name="T18" fmla="*/ 184 w 364"/>
              <a:gd name="T19" fmla="*/ 292 h 305"/>
              <a:gd name="T20" fmla="*/ 172 w 364"/>
              <a:gd name="T21" fmla="*/ 280 h 305"/>
              <a:gd name="T22" fmla="*/ 184 w 364"/>
              <a:gd name="T23" fmla="*/ 268 h 305"/>
              <a:gd name="T24" fmla="*/ 196 w 364"/>
              <a:gd name="T25" fmla="*/ 280 h 305"/>
              <a:gd name="T26" fmla="*/ 184 w 364"/>
              <a:gd name="T27" fmla="*/ 292 h 305"/>
              <a:gd name="T28" fmla="*/ 344 w 364"/>
              <a:gd name="T29" fmla="*/ 258 h 305"/>
              <a:gd name="T30" fmla="*/ 21 w 364"/>
              <a:gd name="T31" fmla="*/ 258 h 305"/>
              <a:gd name="T32" fmla="*/ 21 w 364"/>
              <a:gd name="T33" fmla="*/ 15 h 305"/>
              <a:gd name="T34" fmla="*/ 344 w 364"/>
              <a:gd name="T35" fmla="*/ 15 h 305"/>
              <a:gd name="T36" fmla="*/ 344 w 364"/>
              <a:gd name="T37" fmla="*/ 258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64" h="305">
                <a:moveTo>
                  <a:pt x="350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291"/>
                  <a:pt x="0" y="291"/>
                  <a:pt x="0" y="291"/>
                </a:cubicBezTo>
                <a:cubicBezTo>
                  <a:pt x="0" y="299"/>
                  <a:pt x="7" y="305"/>
                  <a:pt x="15" y="305"/>
                </a:cubicBezTo>
                <a:cubicBezTo>
                  <a:pt x="350" y="305"/>
                  <a:pt x="350" y="305"/>
                  <a:pt x="350" y="305"/>
                </a:cubicBezTo>
                <a:cubicBezTo>
                  <a:pt x="358" y="305"/>
                  <a:pt x="364" y="299"/>
                  <a:pt x="364" y="291"/>
                </a:cubicBezTo>
                <a:cubicBezTo>
                  <a:pt x="364" y="14"/>
                  <a:pt x="364" y="14"/>
                  <a:pt x="364" y="14"/>
                </a:cubicBezTo>
                <a:cubicBezTo>
                  <a:pt x="364" y="6"/>
                  <a:pt x="358" y="0"/>
                  <a:pt x="350" y="0"/>
                </a:cubicBezTo>
                <a:close/>
                <a:moveTo>
                  <a:pt x="184" y="292"/>
                </a:moveTo>
                <a:cubicBezTo>
                  <a:pt x="177" y="292"/>
                  <a:pt x="172" y="286"/>
                  <a:pt x="172" y="280"/>
                </a:cubicBezTo>
                <a:cubicBezTo>
                  <a:pt x="172" y="273"/>
                  <a:pt x="177" y="268"/>
                  <a:pt x="184" y="268"/>
                </a:cubicBezTo>
                <a:cubicBezTo>
                  <a:pt x="191" y="268"/>
                  <a:pt x="196" y="273"/>
                  <a:pt x="196" y="280"/>
                </a:cubicBezTo>
                <a:cubicBezTo>
                  <a:pt x="196" y="286"/>
                  <a:pt x="191" y="292"/>
                  <a:pt x="184" y="292"/>
                </a:cubicBezTo>
                <a:close/>
                <a:moveTo>
                  <a:pt x="344" y="258"/>
                </a:moveTo>
                <a:cubicBezTo>
                  <a:pt x="21" y="258"/>
                  <a:pt x="21" y="258"/>
                  <a:pt x="21" y="258"/>
                </a:cubicBezTo>
                <a:cubicBezTo>
                  <a:pt x="21" y="15"/>
                  <a:pt x="21" y="15"/>
                  <a:pt x="21" y="15"/>
                </a:cubicBezTo>
                <a:cubicBezTo>
                  <a:pt x="344" y="15"/>
                  <a:pt x="344" y="15"/>
                  <a:pt x="344" y="15"/>
                </a:cubicBezTo>
                <a:lnTo>
                  <a:pt x="344" y="25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6" name="Freeform 129">
            <a:extLst>
              <a:ext uri="{FF2B5EF4-FFF2-40B4-BE49-F238E27FC236}">
                <a16:creationId xmlns:a16="http://schemas.microsoft.com/office/drawing/2014/main" id="{1850B388-8F64-4C0A-AC83-430B3BE89842}"/>
              </a:ext>
            </a:extLst>
          </p:cNvPr>
          <p:cNvSpPr>
            <a:spLocks/>
          </p:cNvSpPr>
          <p:nvPr/>
        </p:nvSpPr>
        <p:spPr bwMode="auto">
          <a:xfrm>
            <a:off x="3454356" y="6137906"/>
            <a:ext cx="253440" cy="64800"/>
          </a:xfrm>
          <a:custGeom>
            <a:avLst/>
            <a:gdLst>
              <a:gd name="T0" fmla="*/ 151 w 176"/>
              <a:gd name="T1" fmla="*/ 25 h 45"/>
              <a:gd name="T2" fmla="*/ 151 w 176"/>
              <a:gd name="T3" fmla="*/ 0 h 45"/>
              <a:gd name="T4" fmla="*/ 26 w 176"/>
              <a:gd name="T5" fmla="*/ 0 h 45"/>
              <a:gd name="T6" fmla="*/ 26 w 176"/>
              <a:gd name="T7" fmla="*/ 25 h 45"/>
              <a:gd name="T8" fmla="*/ 0 w 176"/>
              <a:gd name="T9" fmla="*/ 25 h 45"/>
              <a:gd name="T10" fmla="*/ 0 w 176"/>
              <a:gd name="T11" fmla="*/ 45 h 45"/>
              <a:gd name="T12" fmla="*/ 176 w 176"/>
              <a:gd name="T13" fmla="*/ 45 h 45"/>
              <a:gd name="T14" fmla="*/ 176 w 176"/>
              <a:gd name="T15" fmla="*/ 25 h 45"/>
              <a:gd name="T16" fmla="*/ 151 w 176"/>
              <a:gd name="T17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6" h="45">
                <a:moveTo>
                  <a:pt x="151" y="25"/>
                </a:moveTo>
                <a:lnTo>
                  <a:pt x="151" y="0"/>
                </a:lnTo>
                <a:lnTo>
                  <a:pt x="26" y="0"/>
                </a:lnTo>
                <a:lnTo>
                  <a:pt x="26" y="25"/>
                </a:lnTo>
                <a:lnTo>
                  <a:pt x="0" y="25"/>
                </a:lnTo>
                <a:lnTo>
                  <a:pt x="0" y="45"/>
                </a:lnTo>
                <a:lnTo>
                  <a:pt x="176" y="45"/>
                </a:lnTo>
                <a:lnTo>
                  <a:pt x="176" y="25"/>
                </a:lnTo>
                <a:lnTo>
                  <a:pt x="151" y="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7" name="Freeform 130">
            <a:extLst>
              <a:ext uri="{FF2B5EF4-FFF2-40B4-BE49-F238E27FC236}">
                <a16:creationId xmlns:a16="http://schemas.microsoft.com/office/drawing/2014/main" id="{188E624E-D8E3-4201-BEF8-EA15421A14F2}"/>
              </a:ext>
            </a:extLst>
          </p:cNvPr>
          <p:cNvSpPr>
            <a:spLocks/>
          </p:cNvSpPr>
          <p:nvPr/>
        </p:nvSpPr>
        <p:spPr bwMode="auto">
          <a:xfrm>
            <a:off x="3536437" y="5718865"/>
            <a:ext cx="148321" cy="204481"/>
          </a:xfrm>
          <a:custGeom>
            <a:avLst/>
            <a:gdLst>
              <a:gd name="T0" fmla="*/ 43 w 98"/>
              <a:gd name="T1" fmla="*/ 27 h 135"/>
              <a:gd name="T2" fmla="*/ 71 w 98"/>
              <a:gd name="T3" fmla="*/ 56 h 135"/>
              <a:gd name="T4" fmla="*/ 74 w 98"/>
              <a:gd name="T5" fmla="*/ 63 h 135"/>
              <a:gd name="T6" fmla="*/ 74 w 98"/>
              <a:gd name="T7" fmla="*/ 135 h 135"/>
              <a:gd name="T8" fmla="*/ 98 w 98"/>
              <a:gd name="T9" fmla="*/ 135 h 135"/>
              <a:gd name="T10" fmla="*/ 98 w 98"/>
              <a:gd name="T11" fmla="*/ 33 h 135"/>
              <a:gd name="T12" fmla="*/ 64 w 98"/>
              <a:gd name="T13" fmla="*/ 33 h 135"/>
              <a:gd name="T14" fmla="*/ 64 w 98"/>
              <a:gd name="T15" fmla="*/ 0 h 135"/>
              <a:gd name="T16" fmla="*/ 0 w 98"/>
              <a:gd name="T17" fmla="*/ 0 h 135"/>
              <a:gd name="T18" fmla="*/ 0 w 98"/>
              <a:gd name="T19" fmla="*/ 25 h 135"/>
              <a:gd name="T20" fmla="*/ 36 w 98"/>
              <a:gd name="T21" fmla="*/ 25 h 135"/>
              <a:gd name="T22" fmla="*/ 43 w 98"/>
              <a:gd name="T23" fmla="*/ 2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8" h="135">
                <a:moveTo>
                  <a:pt x="43" y="27"/>
                </a:moveTo>
                <a:cubicBezTo>
                  <a:pt x="71" y="56"/>
                  <a:pt x="71" y="56"/>
                  <a:pt x="71" y="56"/>
                </a:cubicBezTo>
                <a:cubicBezTo>
                  <a:pt x="73" y="58"/>
                  <a:pt x="74" y="60"/>
                  <a:pt x="74" y="63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98" y="135"/>
                  <a:pt x="98" y="135"/>
                  <a:pt x="98" y="135"/>
                </a:cubicBezTo>
                <a:cubicBezTo>
                  <a:pt x="98" y="33"/>
                  <a:pt x="98" y="33"/>
                  <a:pt x="98" y="33"/>
                </a:cubicBezTo>
                <a:cubicBezTo>
                  <a:pt x="64" y="33"/>
                  <a:pt x="64" y="33"/>
                  <a:pt x="64" y="33"/>
                </a:cubicBezTo>
                <a:cubicBezTo>
                  <a:pt x="64" y="0"/>
                  <a:pt x="64" y="0"/>
                  <a:pt x="6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"/>
                  <a:pt x="0" y="25"/>
                  <a:pt x="0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38" y="25"/>
                  <a:pt x="41" y="26"/>
                  <a:pt x="43" y="2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8" name="Freeform 133">
            <a:extLst>
              <a:ext uri="{FF2B5EF4-FFF2-40B4-BE49-F238E27FC236}">
                <a16:creationId xmlns:a16="http://schemas.microsoft.com/office/drawing/2014/main" id="{7C95ABD8-F89D-4606-AA73-323FB8010ED5}"/>
              </a:ext>
            </a:extLst>
          </p:cNvPr>
          <p:cNvSpPr>
            <a:spLocks/>
          </p:cNvSpPr>
          <p:nvPr/>
        </p:nvSpPr>
        <p:spPr bwMode="auto">
          <a:xfrm>
            <a:off x="3486036" y="5769265"/>
            <a:ext cx="149760" cy="204481"/>
          </a:xfrm>
          <a:custGeom>
            <a:avLst/>
            <a:gdLst>
              <a:gd name="T0" fmla="*/ 68 w 104"/>
              <a:gd name="T1" fmla="*/ 35 h 142"/>
              <a:gd name="T2" fmla="*/ 68 w 104"/>
              <a:gd name="T3" fmla="*/ 0 h 142"/>
              <a:gd name="T4" fmla="*/ 0 w 104"/>
              <a:gd name="T5" fmla="*/ 0 h 142"/>
              <a:gd name="T6" fmla="*/ 0 w 104"/>
              <a:gd name="T7" fmla="*/ 142 h 142"/>
              <a:gd name="T8" fmla="*/ 104 w 104"/>
              <a:gd name="T9" fmla="*/ 142 h 142"/>
              <a:gd name="T10" fmla="*/ 104 w 104"/>
              <a:gd name="T11" fmla="*/ 35 h 142"/>
              <a:gd name="T12" fmla="*/ 68 w 104"/>
              <a:gd name="T13" fmla="*/ 35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4" h="142">
                <a:moveTo>
                  <a:pt x="68" y="35"/>
                </a:moveTo>
                <a:lnTo>
                  <a:pt x="68" y="0"/>
                </a:lnTo>
                <a:lnTo>
                  <a:pt x="0" y="0"/>
                </a:lnTo>
                <a:lnTo>
                  <a:pt x="0" y="142"/>
                </a:lnTo>
                <a:lnTo>
                  <a:pt x="104" y="142"/>
                </a:lnTo>
                <a:lnTo>
                  <a:pt x="104" y="35"/>
                </a:lnTo>
                <a:lnTo>
                  <a:pt x="68" y="3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pic>
        <p:nvPicPr>
          <p:cNvPr id="49" name="Picture 48" descr="A close up of a sign&#10;&#10;Description automatically generated">
            <a:extLst>
              <a:ext uri="{FF2B5EF4-FFF2-40B4-BE49-F238E27FC236}">
                <a16:creationId xmlns:a16="http://schemas.microsoft.com/office/drawing/2014/main" id="{2B241051-0984-4D93-AFC3-8F787B3B6E7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20" y="5606037"/>
            <a:ext cx="624601" cy="624601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35F82B1-D1D5-4568-8109-8BB8D9E9EF5B}"/>
              </a:ext>
            </a:extLst>
          </p:cNvPr>
          <p:cNvCxnSpPr>
            <a:cxnSpLocks/>
          </p:cNvCxnSpPr>
          <p:nvPr/>
        </p:nvCxnSpPr>
        <p:spPr>
          <a:xfrm>
            <a:off x="321174" y="4469114"/>
            <a:ext cx="4197551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5">
            <a:extLst>
              <a:ext uri="{FF2B5EF4-FFF2-40B4-BE49-F238E27FC236}">
                <a16:creationId xmlns:a16="http://schemas.microsoft.com/office/drawing/2014/main" id="{E7E182D2-EA9B-44FF-AB09-F1B7F0197A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5258" y="1011987"/>
            <a:ext cx="2488067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Conclusion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43FF219-E798-4B80-A17A-73B361DE4A97}"/>
              </a:ext>
            </a:extLst>
          </p:cNvPr>
          <p:cNvCxnSpPr>
            <a:cxnSpLocks/>
          </p:cNvCxnSpPr>
          <p:nvPr/>
        </p:nvCxnSpPr>
        <p:spPr>
          <a:xfrm>
            <a:off x="6891155" y="1429196"/>
            <a:ext cx="4197551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DE043CB-4F8E-4963-BEF3-2D657A863CC8}"/>
              </a:ext>
            </a:extLst>
          </p:cNvPr>
          <p:cNvSpPr txBox="1"/>
          <p:nvPr/>
        </p:nvSpPr>
        <p:spPr>
          <a:xfrm>
            <a:off x="6885258" y="1623393"/>
            <a:ext cx="4376057" cy="905204"/>
          </a:xfrm>
          <a:prstGeom prst="rect">
            <a:avLst/>
          </a:prstGeom>
          <a:noFill/>
          <a:ln w="38100">
            <a:noFill/>
            <a:round/>
          </a:ln>
        </p:spPr>
        <p:txBody>
          <a:bodyPr wrap="square" lIns="91440" tIns="91440" rIns="91440" bIns="91440" rtlCol="0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i="1" dirty="0">
                <a:solidFill>
                  <a:schemeClr val="accent1"/>
                </a:solidFill>
              </a:rPr>
              <a:t>Delaying investments or only using a traditional savings account has a tremendous impact on long-term retirement funds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1" i="1" dirty="0">
              <a:solidFill>
                <a:schemeClr val="accent1"/>
              </a:solidFill>
            </a:endParaRPr>
          </a:p>
        </p:txBody>
      </p: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30F5C38C-E26C-4DDB-92FF-9BA08E870F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454736"/>
              </p:ext>
            </p:extLst>
          </p:nvPr>
        </p:nvGraphicFramePr>
        <p:xfrm>
          <a:off x="6476588" y="2841137"/>
          <a:ext cx="5584210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4248545706"/>
                    </a:ext>
                  </a:extLst>
                </a:gridCol>
                <a:gridCol w="1786265">
                  <a:extLst>
                    <a:ext uri="{9D8B030D-6E8A-4147-A177-3AD203B41FA5}">
                      <a16:colId xmlns:a16="http://schemas.microsoft.com/office/drawing/2014/main" val="4045763616"/>
                    </a:ext>
                  </a:extLst>
                </a:gridCol>
                <a:gridCol w="1786265">
                  <a:extLst>
                    <a:ext uri="{9D8B030D-6E8A-4147-A177-3AD203B41FA5}">
                      <a16:colId xmlns:a16="http://schemas.microsoft.com/office/drawing/2014/main" val="31387764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vings Ac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ocks and Bon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4468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Initial 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$2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$2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289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Annual Con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$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$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61772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Ye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987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5A8C"/>
                          </a:solidFill>
                        </a:rPr>
                        <a:t>$172,8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005A8C"/>
                          </a:solidFill>
                        </a:rPr>
                        <a:t>$1,026,6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275333"/>
                  </a:ext>
                </a:extLst>
              </a:tr>
            </a:tbl>
          </a:graphicData>
        </a:graphic>
      </p:graphicFrame>
      <p:sp>
        <p:nvSpPr>
          <p:cNvPr id="95" name="TextBox 94">
            <a:extLst>
              <a:ext uri="{FF2B5EF4-FFF2-40B4-BE49-F238E27FC236}">
                <a16:creationId xmlns:a16="http://schemas.microsoft.com/office/drawing/2014/main" id="{E31583F5-A5AB-43B7-BDA5-88FD4D752420}"/>
              </a:ext>
            </a:extLst>
          </p:cNvPr>
          <p:cNvSpPr txBox="1"/>
          <p:nvPr/>
        </p:nvSpPr>
        <p:spPr>
          <a:xfrm>
            <a:off x="7185296" y="5201463"/>
            <a:ext cx="4376057" cy="905204"/>
          </a:xfrm>
          <a:prstGeom prst="rect">
            <a:avLst/>
          </a:prstGeom>
          <a:noFill/>
          <a:ln w="38100">
            <a:noFill/>
            <a:round/>
          </a:ln>
        </p:spPr>
        <p:txBody>
          <a:bodyPr wrap="square" lIns="91440" tIns="91440" rIns="91440" bIns="91440" rtlCol="0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i="1" dirty="0">
                <a:solidFill>
                  <a:schemeClr val="accent1"/>
                </a:solidFill>
              </a:rPr>
              <a:t>In this one illustrative example, the user can see an opportunity cost of $839,854!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1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83140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mortem/If We Had More Tim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Allow for rebalancing of the portfolio</a:t>
            </a:r>
          </a:p>
          <a:p>
            <a:pPr>
              <a:spcAft>
                <a:spcPts val="1200"/>
              </a:spcAft>
            </a:pPr>
            <a:r>
              <a:rPr lang="en-US" dirty="0"/>
              <a:t>Allow more advanced users to select of other asset classes or individual stocks</a:t>
            </a:r>
          </a:p>
          <a:p>
            <a:pPr>
              <a:spcAft>
                <a:spcPts val="1200"/>
              </a:spcAft>
            </a:pPr>
            <a:r>
              <a:rPr lang="en-US" dirty="0"/>
              <a:t>Allow for more dynamic recurring investment contributions (annual, quarterly, monthly, etc.)</a:t>
            </a:r>
          </a:p>
          <a:p>
            <a:pPr>
              <a:spcAft>
                <a:spcPts val="1200"/>
              </a:spcAft>
            </a:pPr>
            <a:r>
              <a:rPr lang="en-US" dirty="0"/>
              <a:t>Show the impact fees and expenses can have on portfolio return</a:t>
            </a:r>
          </a:p>
          <a:p>
            <a:pPr>
              <a:spcAft>
                <a:spcPts val="1200"/>
              </a:spcAft>
            </a:pPr>
            <a:r>
              <a:rPr lang="en-US" dirty="0"/>
              <a:t>Create a front-end website to create a more user-friendly way of inputting user data</a:t>
            </a:r>
          </a:p>
        </p:txBody>
      </p:sp>
    </p:spTree>
    <p:extLst>
      <p:ext uri="{BB962C8B-B14F-4D97-AF65-F5344CB8AC3E}">
        <p14:creationId xmlns:p14="http://schemas.microsoft.com/office/powerpoint/2010/main" val="389132467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45803030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27332075450390114213E+00&quot;&gt;&lt;m_msothmcolidx val=&quot;0&quot;/&gt;&lt;m_rgb r=&quot;00&quot; g=&quot;5A&quot; b=&quot;8C&quot;/&gt;&lt;m_nBrightness val=&quot;0&quot;/&gt;&lt;/elem&gt;&lt;elem m_fUsage=&quot;2.12876792454961005774E+00&quot;&gt;&lt;m_msothmcolidx val=&quot;0&quot;/&gt;&lt;m_rgb r=&quot;F4&quot; g=&quot;B6&quot; b=&quot;33&quot;/&gt;&lt;m_nBrightness val=&quot;0&quot;/&gt;&lt;/elem&gt;&lt;elem m_fUsage=&quot;1.93019315097983312768E+00&quot;&gt;&lt;m_msothmcolidx val=&quot;0&quot;/&gt;&lt;m_rgb r=&quot;DE&quot; g=&quot;F2&quot; b=&quot;C9&quot;/&gt;&lt;m_nBrightness val=&quot;0&quot;/&gt;&lt;/elem&gt;&lt;elem m_fUsage=&quot;1.66771816996665767086E-01&quot;&gt;&lt;m_msothmcolidx val=&quot;0&quot;/&gt;&lt;m_rgb r=&quot;C4&quot; g=&quot;F2&quot; b=&quot;D0&quot;/&gt;&lt;m_nBrightness val=&quot;0&quot;/&gt;&lt;/elem&gt;&lt;elem m_fUsage=&quot;1.50094635296999207030E-01&quot;&gt;&lt;m_msothmcolidx val=&quot;0&quot;/&gt;&lt;m_rgb r=&quot;5C&quot; g=&quot;CE&quot; b=&quot;E2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soifW6QOgimy_LLR6E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HogXI8S26X5Sw690Fr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dotlNyy5NfHHLf9uS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tZiJ51h5cwlT2d2jpD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FacvLlRba6GvSHr8kN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DEE8D3"/>
        </a:solidFill>
        <a:ln w="38100">
          <a:noFill/>
          <a:round/>
        </a:ln>
      </a:spPr>
      <a:bodyPr wrap="square" lIns="91440" tIns="91440" rIns="91440" bIns="91440" rtlCol="0" anchor="ctr">
        <a:noAutofit/>
      </a:bodyPr>
      <a:lstStyle>
        <a:defPPr marL="0" algn="l">
          <a:spcAft>
            <a:spcPts val="600"/>
          </a:spcAft>
          <a:defRPr sz="1400" b="1" dirty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Adherence v5.pptx" id="{8DDBCE49-EE5F-481E-84A4-63F489842FCD}" vid="{9F4DE53E-D64C-4945-BB8F-25F874174F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3FCD21E3690944A68B323E0CF5962C" ma:contentTypeVersion="0" ma:contentTypeDescription="Create a new document." ma:contentTypeScope="" ma:versionID="f9e250221843cd2cd76f41b74b498d5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79a3d61c0333de7709766ae72c7e67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475ED3-7961-405E-B611-8B5F8502B1AD}">
  <ds:schemaRefs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00D13FB-41ED-4EB5-BDC1-A33BC571F8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7BEC00-EF51-4834-A70F-36ABF7135F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rxTS</Template>
  <TotalTime>26512</TotalTime>
  <Words>622</Words>
  <Application>Microsoft Office PowerPoint</Application>
  <PresentationFormat>Widescreen</PresentationFormat>
  <Paragraphs>121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Georgia</vt:lpstr>
      <vt:lpstr>McKesson</vt:lpstr>
      <vt:lpstr>think-cell Slide</vt:lpstr>
      <vt:lpstr>Robo Advising! Making Investing Cheaper and More Likely</vt:lpstr>
      <vt:lpstr>Agenda for Today</vt:lpstr>
      <vt:lpstr>Why We Chose This Topic</vt:lpstr>
      <vt:lpstr>Questions to Be Answered</vt:lpstr>
      <vt:lpstr>Data Sources and Cleanup</vt:lpstr>
      <vt:lpstr>Data Analysis</vt:lpstr>
      <vt:lpstr>Our Findings</vt:lpstr>
      <vt:lpstr>Postmortem/If We Had More Time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 TEMP</dc:title>
  <dc:subject/>
  <dc:creator>Benjamin Harris</dc:creator>
  <cp:keywords/>
  <dc:description>for questions, contact mckessonbrandchampions@mckesson.com</dc:description>
  <cp:lastModifiedBy>Alex Wise</cp:lastModifiedBy>
  <cp:revision>1675</cp:revision>
  <cp:lastPrinted>2018-04-05T12:49:28Z</cp:lastPrinted>
  <dcterms:created xsi:type="dcterms:W3CDTF">2018-01-25T22:40:11Z</dcterms:created>
  <dcterms:modified xsi:type="dcterms:W3CDTF">2020-12-31T16:33:54Z</dcterms:modified>
  <cp:category/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3FCD21E3690944A68B323E0CF5962C</vt:lpwstr>
  </property>
</Properties>
</file>